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73" r:id="rId6"/>
  </p:sldMasterIdLst>
  <p:notesMasterIdLst>
    <p:notesMasterId r:id="rId15"/>
  </p:notesMasterIdLst>
  <p:sldIdLst>
    <p:sldId id="257" r:id="rId7"/>
    <p:sldId id="2147471664" r:id="rId8"/>
    <p:sldId id="2147471914" r:id="rId9"/>
    <p:sldId id="2147471915" r:id="rId10"/>
    <p:sldId id="2147471682" r:id="rId11"/>
    <p:sldId id="2147471678" r:id="rId12"/>
    <p:sldId id="2147471913" r:id="rId13"/>
    <p:sldId id="214747191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59" d="100"/>
          <a:sy n="59" d="100"/>
        </p:scale>
        <p:origin x="964"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g, Sumeet" userId="de56b5f9-9abe-4117-a1b8-e00a9955733b" providerId="ADAL" clId="{962D7537-C8AC-438B-A691-5B999293439F}"/>
    <pc:docChg chg="custSel delSld modSld delMainMaster">
      <pc:chgData name="Garg, Sumeet" userId="de56b5f9-9abe-4117-a1b8-e00a9955733b" providerId="ADAL" clId="{962D7537-C8AC-438B-A691-5B999293439F}" dt="2026-05-10T08:19:44.800" v="7" actId="47"/>
      <pc:docMkLst>
        <pc:docMk/>
      </pc:docMkLst>
      <pc:sldChg chg="del">
        <pc:chgData name="Garg, Sumeet" userId="de56b5f9-9abe-4117-a1b8-e00a9955733b" providerId="ADAL" clId="{962D7537-C8AC-438B-A691-5B999293439F}" dt="2026-05-10T08:19:13.787" v="0" actId="47"/>
        <pc:sldMkLst>
          <pc:docMk/>
          <pc:sldMk cId="571094154" sldId="256"/>
        </pc:sldMkLst>
      </pc:sldChg>
      <pc:sldChg chg="delSp mod">
        <pc:chgData name="Garg, Sumeet" userId="de56b5f9-9abe-4117-a1b8-e00a9955733b" providerId="ADAL" clId="{962D7537-C8AC-438B-A691-5B999293439F}" dt="2026-05-10T08:19:17.971" v="1" actId="478"/>
        <pc:sldMkLst>
          <pc:docMk/>
          <pc:sldMk cId="923627568" sldId="2147471664"/>
        </pc:sldMkLst>
        <pc:grpChg chg="del">
          <ac:chgData name="Garg, Sumeet" userId="de56b5f9-9abe-4117-a1b8-e00a9955733b" providerId="ADAL" clId="{962D7537-C8AC-438B-A691-5B999293439F}" dt="2026-05-10T08:19:17.971" v="1" actId="478"/>
          <ac:grpSpMkLst>
            <pc:docMk/>
            <pc:sldMk cId="923627568" sldId="2147471664"/>
            <ac:grpSpMk id="148" creationId="{728276BE-A1F8-8085-4BBB-D5427715A475}"/>
          </ac:grpSpMkLst>
        </pc:grpChg>
      </pc:sldChg>
      <pc:sldChg chg="delSp mod">
        <pc:chgData name="Garg, Sumeet" userId="de56b5f9-9abe-4117-a1b8-e00a9955733b" providerId="ADAL" clId="{962D7537-C8AC-438B-A691-5B999293439F}" dt="2026-05-10T08:19:34.205" v="6" actId="478"/>
        <pc:sldMkLst>
          <pc:docMk/>
          <pc:sldMk cId="2098675981" sldId="2147471678"/>
        </pc:sldMkLst>
        <pc:spChg chg="del">
          <ac:chgData name="Garg, Sumeet" userId="de56b5f9-9abe-4117-a1b8-e00a9955733b" providerId="ADAL" clId="{962D7537-C8AC-438B-A691-5B999293439F}" dt="2026-05-10T08:19:32.854" v="5" actId="478"/>
          <ac:spMkLst>
            <pc:docMk/>
            <pc:sldMk cId="2098675981" sldId="2147471678"/>
            <ac:spMk id="121" creationId="{ED511287-674F-48DA-83BB-D4CFF1ADB3FC}"/>
          </ac:spMkLst>
        </pc:spChg>
        <pc:grpChg chg="del">
          <ac:chgData name="Garg, Sumeet" userId="de56b5f9-9abe-4117-a1b8-e00a9955733b" providerId="ADAL" clId="{962D7537-C8AC-438B-A691-5B999293439F}" dt="2026-05-10T08:19:34.205" v="6" actId="478"/>
          <ac:grpSpMkLst>
            <pc:docMk/>
            <pc:sldMk cId="2098675981" sldId="2147471678"/>
            <ac:grpSpMk id="642" creationId="{8D5816E3-0840-D27B-BD66-12E553A36203}"/>
          </ac:grpSpMkLst>
        </pc:grpChg>
      </pc:sldChg>
      <pc:sldChg chg="delSp mod">
        <pc:chgData name="Garg, Sumeet" userId="de56b5f9-9abe-4117-a1b8-e00a9955733b" providerId="ADAL" clId="{962D7537-C8AC-438B-A691-5B999293439F}" dt="2026-05-10T08:19:28.276" v="4" actId="478"/>
        <pc:sldMkLst>
          <pc:docMk/>
          <pc:sldMk cId="2582236353" sldId="2147471682"/>
        </pc:sldMkLst>
        <pc:grpChg chg="del">
          <ac:chgData name="Garg, Sumeet" userId="de56b5f9-9abe-4117-a1b8-e00a9955733b" providerId="ADAL" clId="{962D7537-C8AC-438B-A691-5B999293439F}" dt="2026-05-10T08:19:28.276" v="4" actId="478"/>
          <ac:grpSpMkLst>
            <pc:docMk/>
            <pc:sldMk cId="2582236353" sldId="2147471682"/>
            <ac:grpSpMk id="7" creationId="{1ED4270D-D3A2-B403-CBEF-060AF99CEC11}"/>
          </ac:grpSpMkLst>
        </pc:grpChg>
      </pc:sldChg>
      <pc:sldChg chg="del">
        <pc:chgData name="Garg, Sumeet" userId="de56b5f9-9abe-4117-a1b8-e00a9955733b" providerId="ADAL" clId="{962D7537-C8AC-438B-A691-5B999293439F}" dt="2026-05-10T08:19:44.800" v="7" actId="47"/>
        <pc:sldMkLst>
          <pc:docMk/>
          <pc:sldMk cId="111111369" sldId="2147471891"/>
        </pc:sldMkLst>
      </pc:sldChg>
      <pc:sldChg chg="delSp mod">
        <pc:chgData name="Garg, Sumeet" userId="de56b5f9-9abe-4117-a1b8-e00a9955733b" providerId="ADAL" clId="{962D7537-C8AC-438B-A691-5B999293439F}" dt="2026-05-10T08:19:21.035" v="2" actId="478"/>
        <pc:sldMkLst>
          <pc:docMk/>
          <pc:sldMk cId="4135555011" sldId="2147471914"/>
        </pc:sldMkLst>
        <pc:grpChg chg="del">
          <ac:chgData name="Garg, Sumeet" userId="de56b5f9-9abe-4117-a1b8-e00a9955733b" providerId="ADAL" clId="{962D7537-C8AC-438B-A691-5B999293439F}" dt="2026-05-10T08:19:21.035" v="2" actId="478"/>
          <ac:grpSpMkLst>
            <pc:docMk/>
            <pc:sldMk cId="4135555011" sldId="2147471914"/>
            <ac:grpSpMk id="23" creationId="{35334847-D3F2-9717-33EA-F28E8617CB85}"/>
          </ac:grpSpMkLst>
        </pc:grpChg>
      </pc:sldChg>
      <pc:sldChg chg="delSp mod">
        <pc:chgData name="Garg, Sumeet" userId="de56b5f9-9abe-4117-a1b8-e00a9955733b" providerId="ADAL" clId="{962D7537-C8AC-438B-A691-5B999293439F}" dt="2026-05-10T08:19:25.235" v="3" actId="478"/>
        <pc:sldMkLst>
          <pc:docMk/>
          <pc:sldMk cId="1826963085" sldId="2147471915"/>
        </pc:sldMkLst>
        <pc:grpChg chg="del">
          <ac:chgData name="Garg, Sumeet" userId="de56b5f9-9abe-4117-a1b8-e00a9955733b" providerId="ADAL" clId="{962D7537-C8AC-438B-A691-5B999293439F}" dt="2026-05-10T08:19:25.235" v="3" actId="478"/>
          <ac:grpSpMkLst>
            <pc:docMk/>
            <pc:sldMk cId="1826963085" sldId="2147471915"/>
            <ac:grpSpMk id="9" creationId="{46044ABC-6352-B087-6FBF-A5E6E40E582F}"/>
          </ac:grpSpMkLst>
        </pc:grpChg>
      </pc:sldChg>
      <pc:sldMasterChg chg="del delSldLayout">
        <pc:chgData name="Garg, Sumeet" userId="de56b5f9-9abe-4117-a1b8-e00a9955733b" providerId="ADAL" clId="{962D7537-C8AC-438B-A691-5B999293439F}" dt="2026-05-10T08:19:13.787" v="0" actId="47"/>
        <pc:sldMasterMkLst>
          <pc:docMk/>
          <pc:sldMasterMk cId="1847995929" sldId="2147483648"/>
        </pc:sldMasterMkLst>
        <pc:sldLayoutChg chg="del">
          <pc:chgData name="Garg, Sumeet" userId="de56b5f9-9abe-4117-a1b8-e00a9955733b" providerId="ADAL" clId="{962D7537-C8AC-438B-A691-5B999293439F}" dt="2026-05-10T08:19:13.787" v="0" actId="47"/>
          <pc:sldLayoutMkLst>
            <pc:docMk/>
            <pc:sldMasterMk cId="1847995929" sldId="2147483648"/>
            <pc:sldLayoutMk cId="4168597333" sldId="2147483649"/>
          </pc:sldLayoutMkLst>
        </pc:sldLayoutChg>
        <pc:sldLayoutChg chg="del">
          <pc:chgData name="Garg, Sumeet" userId="de56b5f9-9abe-4117-a1b8-e00a9955733b" providerId="ADAL" clId="{962D7537-C8AC-438B-A691-5B999293439F}" dt="2026-05-10T08:19:13.787" v="0" actId="47"/>
          <pc:sldLayoutMkLst>
            <pc:docMk/>
            <pc:sldMasterMk cId="1847995929" sldId="2147483648"/>
            <pc:sldLayoutMk cId="2234225913" sldId="2147483650"/>
          </pc:sldLayoutMkLst>
        </pc:sldLayoutChg>
        <pc:sldLayoutChg chg="del">
          <pc:chgData name="Garg, Sumeet" userId="de56b5f9-9abe-4117-a1b8-e00a9955733b" providerId="ADAL" clId="{962D7537-C8AC-438B-A691-5B999293439F}" dt="2026-05-10T08:19:13.787" v="0" actId="47"/>
          <pc:sldLayoutMkLst>
            <pc:docMk/>
            <pc:sldMasterMk cId="1847995929" sldId="2147483648"/>
            <pc:sldLayoutMk cId="3003149377" sldId="2147483651"/>
          </pc:sldLayoutMkLst>
        </pc:sldLayoutChg>
        <pc:sldLayoutChg chg="del">
          <pc:chgData name="Garg, Sumeet" userId="de56b5f9-9abe-4117-a1b8-e00a9955733b" providerId="ADAL" clId="{962D7537-C8AC-438B-A691-5B999293439F}" dt="2026-05-10T08:19:13.787" v="0" actId="47"/>
          <pc:sldLayoutMkLst>
            <pc:docMk/>
            <pc:sldMasterMk cId="1847995929" sldId="2147483648"/>
            <pc:sldLayoutMk cId="1706266460" sldId="2147483652"/>
          </pc:sldLayoutMkLst>
        </pc:sldLayoutChg>
        <pc:sldLayoutChg chg="del">
          <pc:chgData name="Garg, Sumeet" userId="de56b5f9-9abe-4117-a1b8-e00a9955733b" providerId="ADAL" clId="{962D7537-C8AC-438B-A691-5B999293439F}" dt="2026-05-10T08:19:13.787" v="0" actId="47"/>
          <pc:sldLayoutMkLst>
            <pc:docMk/>
            <pc:sldMasterMk cId="1847995929" sldId="2147483648"/>
            <pc:sldLayoutMk cId="3390113199" sldId="2147483653"/>
          </pc:sldLayoutMkLst>
        </pc:sldLayoutChg>
        <pc:sldLayoutChg chg="del">
          <pc:chgData name="Garg, Sumeet" userId="de56b5f9-9abe-4117-a1b8-e00a9955733b" providerId="ADAL" clId="{962D7537-C8AC-438B-A691-5B999293439F}" dt="2026-05-10T08:19:13.787" v="0" actId="47"/>
          <pc:sldLayoutMkLst>
            <pc:docMk/>
            <pc:sldMasterMk cId="1847995929" sldId="2147483648"/>
            <pc:sldLayoutMk cId="3680648801" sldId="2147483654"/>
          </pc:sldLayoutMkLst>
        </pc:sldLayoutChg>
        <pc:sldLayoutChg chg="del">
          <pc:chgData name="Garg, Sumeet" userId="de56b5f9-9abe-4117-a1b8-e00a9955733b" providerId="ADAL" clId="{962D7537-C8AC-438B-A691-5B999293439F}" dt="2026-05-10T08:19:13.787" v="0" actId="47"/>
          <pc:sldLayoutMkLst>
            <pc:docMk/>
            <pc:sldMasterMk cId="1847995929" sldId="2147483648"/>
            <pc:sldLayoutMk cId="1992941718" sldId="2147483655"/>
          </pc:sldLayoutMkLst>
        </pc:sldLayoutChg>
        <pc:sldLayoutChg chg="del">
          <pc:chgData name="Garg, Sumeet" userId="de56b5f9-9abe-4117-a1b8-e00a9955733b" providerId="ADAL" clId="{962D7537-C8AC-438B-A691-5B999293439F}" dt="2026-05-10T08:19:13.787" v="0" actId="47"/>
          <pc:sldLayoutMkLst>
            <pc:docMk/>
            <pc:sldMasterMk cId="1847995929" sldId="2147483648"/>
            <pc:sldLayoutMk cId="3641802937" sldId="2147483656"/>
          </pc:sldLayoutMkLst>
        </pc:sldLayoutChg>
        <pc:sldLayoutChg chg="del">
          <pc:chgData name="Garg, Sumeet" userId="de56b5f9-9abe-4117-a1b8-e00a9955733b" providerId="ADAL" clId="{962D7537-C8AC-438B-A691-5B999293439F}" dt="2026-05-10T08:19:13.787" v="0" actId="47"/>
          <pc:sldLayoutMkLst>
            <pc:docMk/>
            <pc:sldMasterMk cId="1847995929" sldId="2147483648"/>
            <pc:sldLayoutMk cId="4041638586" sldId="2147483657"/>
          </pc:sldLayoutMkLst>
        </pc:sldLayoutChg>
        <pc:sldLayoutChg chg="del">
          <pc:chgData name="Garg, Sumeet" userId="de56b5f9-9abe-4117-a1b8-e00a9955733b" providerId="ADAL" clId="{962D7537-C8AC-438B-A691-5B999293439F}" dt="2026-05-10T08:19:13.787" v="0" actId="47"/>
          <pc:sldLayoutMkLst>
            <pc:docMk/>
            <pc:sldMasterMk cId="1847995929" sldId="2147483648"/>
            <pc:sldLayoutMk cId="3324061069" sldId="2147483658"/>
          </pc:sldLayoutMkLst>
        </pc:sldLayoutChg>
        <pc:sldLayoutChg chg="del">
          <pc:chgData name="Garg, Sumeet" userId="de56b5f9-9abe-4117-a1b8-e00a9955733b" providerId="ADAL" clId="{962D7537-C8AC-438B-A691-5B999293439F}" dt="2026-05-10T08:19:13.787" v="0" actId="47"/>
          <pc:sldLayoutMkLst>
            <pc:docMk/>
            <pc:sldMasterMk cId="1847995929" sldId="2147483648"/>
            <pc:sldLayoutMk cId="567146039" sldId="2147483659"/>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FD6AC0-7F7E-4A59-8EDE-D25720EE56EC}" type="datetimeFigureOut">
              <a:rPr lang="en-GB" smtClean="0"/>
              <a:t>10/05/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45D690-B264-443E-B740-D5DAB37D2F31}" type="slidenum">
              <a:rPr lang="en-GB" smtClean="0"/>
              <a:t>‹#›</a:t>
            </a:fld>
            <a:endParaRPr lang="en-GB"/>
          </a:p>
        </p:txBody>
      </p:sp>
    </p:spTree>
    <p:extLst>
      <p:ext uri="{BB962C8B-B14F-4D97-AF65-F5344CB8AC3E}">
        <p14:creationId xmlns:p14="http://schemas.microsoft.com/office/powerpoint/2010/main" val="1537164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FA5CB2-20D5-444B-A70C-72950FCB60FE}"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99389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85876-6F63-5DEF-C712-A1BDB36EA7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90DBEF-D951-0298-7479-91C28884C044}"/>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C5654115-B121-ECAF-E9DC-5F78676EB924}"/>
              </a:ext>
            </a:extLst>
          </p:cNvPr>
          <p:cNvSpPr>
            <a:spLocks noGrp="1"/>
          </p:cNvSpPr>
          <p:nvPr>
            <p:ph type="body" idx="1"/>
          </p:nvPr>
        </p:nvSpPr>
        <p:spPr/>
        <p:txBody>
          <a:bodyPr/>
          <a:lstStyle/>
          <a:p>
            <a:pPr marL="285750" indent="-285750">
              <a:buFont typeface="Arial" panose="020B0604020202020204" pitchFamily="34" charset="0"/>
              <a:buChar char="•"/>
            </a:pPr>
            <a:endParaRPr lang="en-GB" dirty="0"/>
          </a:p>
        </p:txBody>
      </p:sp>
      <p:sp>
        <p:nvSpPr>
          <p:cNvPr id="4" name="Slide Number Placeholder 3">
            <a:extLst>
              <a:ext uri="{FF2B5EF4-FFF2-40B4-BE49-F238E27FC236}">
                <a16:creationId xmlns:a16="http://schemas.microsoft.com/office/drawing/2014/main" id="{03B2C641-FD8F-323E-DCDC-E0CFC0E9850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80796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8C5D0-9FD7-DB07-2E41-8508E919DC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C4BA78-45EB-5D40-0630-65C898C59BDD}"/>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BC540B59-C8FE-6445-3818-0AF96BC06749}"/>
              </a:ext>
            </a:extLst>
          </p:cNvPr>
          <p:cNvSpPr>
            <a:spLocks noGrp="1"/>
          </p:cNvSpPr>
          <p:nvPr>
            <p:ph type="body" idx="1"/>
          </p:nvPr>
        </p:nvSpPr>
        <p:spPr/>
        <p:txBody>
          <a:bodyPr/>
          <a:lstStyle/>
          <a:p>
            <a:pPr marL="285750" indent="-285750">
              <a:buFont typeface="Arial" panose="020B0604020202020204" pitchFamily="34" charset="0"/>
              <a:buChar char="•"/>
            </a:pPr>
            <a:endParaRPr lang="en-GB" dirty="0"/>
          </a:p>
        </p:txBody>
      </p:sp>
      <p:sp>
        <p:nvSpPr>
          <p:cNvPr id="4" name="Slide Number Placeholder 3">
            <a:extLst>
              <a:ext uri="{FF2B5EF4-FFF2-40B4-BE49-F238E27FC236}">
                <a16:creationId xmlns:a16="http://schemas.microsoft.com/office/drawing/2014/main" id="{17C6F85D-0274-6A92-EBB6-6F52BC84E9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917118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32D97-4925-EB95-2435-CD3234A877B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DD9A365-E50B-1467-69C9-B5C31ECF2BB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5E06A34-9624-A550-3B28-862C1D0D0F7D}"/>
              </a:ext>
            </a:extLst>
          </p:cNvPr>
          <p:cNvSpPr>
            <a:spLocks noGrp="1"/>
          </p:cNvSpPr>
          <p:nvPr>
            <p:ph type="dt" sz="half" idx="10"/>
          </p:nvPr>
        </p:nvSpPr>
        <p:spPr/>
        <p:txBody>
          <a:bodyPr/>
          <a:lstStyle/>
          <a:p>
            <a:fld id="{242A02AC-01AD-4ECE-8FF3-CE8622F9EB76}" type="datetimeFigureOut">
              <a:rPr lang="en-GB" smtClean="0"/>
              <a:t>10/05/2026</a:t>
            </a:fld>
            <a:endParaRPr lang="en-GB"/>
          </a:p>
        </p:txBody>
      </p:sp>
      <p:sp>
        <p:nvSpPr>
          <p:cNvPr id="5" name="Footer Placeholder 4">
            <a:extLst>
              <a:ext uri="{FF2B5EF4-FFF2-40B4-BE49-F238E27FC236}">
                <a16:creationId xmlns:a16="http://schemas.microsoft.com/office/drawing/2014/main" id="{5FA5CB74-FDFA-449C-9A13-D7C9ABF5EDF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99BB64F-5629-4FB3-ED34-F35773C7C48E}"/>
              </a:ext>
            </a:extLst>
          </p:cNvPr>
          <p:cNvSpPr>
            <a:spLocks noGrp="1"/>
          </p:cNvSpPr>
          <p:nvPr>
            <p:ph type="sldNum" sz="quarter" idx="12"/>
          </p:nvPr>
        </p:nvSpPr>
        <p:spPr/>
        <p:txBody>
          <a:bodyPr/>
          <a:lstStyle/>
          <a:p>
            <a:fld id="{E9099AA9-EF87-40C7-98C8-7A3FDF11FE4C}" type="slidenum">
              <a:rPr lang="en-GB" smtClean="0"/>
              <a:t>‹#›</a:t>
            </a:fld>
            <a:endParaRPr lang="en-GB"/>
          </a:p>
        </p:txBody>
      </p:sp>
    </p:spTree>
    <p:extLst>
      <p:ext uri="{BB962C8B-B14F-4D97-AF65-F5344CB8AC3E}">
        <p14:creationId xmlns:p14="http://schemas.microsoft.com/office/powerpoint/2010/main" val="35246360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81A7B-0F35-0B0A-4572-83AAC493649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74226D9-3A37-8747-FA30-8E0BCE1F9F5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040FF5A-780D-C44A-07CE-4953176776E7}"/>
              </a:ext>
            </a:extLst>
          </p:cNvPr>
          <p:cNvSpPr>
            <a:spLocks noGrp="1"/>
          </p:cNvSpPr>
          <p:nvPr>
            <p:ph type="dt" sz="half" idx="10"/>
          </p:nvPr>
        </p:nvSpPr>
        <p:spPr/>
        <p:txBody>
          <a:bodyPr/>
          <a:lstStyle/>
          <a:p>
            <a:fld id="{242A02AC-01AD-4ECE-8FF3-CE8622F9EB76}" type="datetimeFigureOut">
              <a:rPr lang="en-GB" smtClean="0"/>
              <a:t>10/05/2026</a:t>
            </a:fld>
            <a:endParaRPr lang="en-GB"/>
          </a:p>
        </p:txBody>
      </p:sp>
      <p:sp>
        <p:nvSpPr>
          <p:cNvPr id="5" name="Footer Placeholder 4">
            <a:extLst>
              <a:ext uri="{FF2B5EF4-FFF2-40B4-BE49-F238E27FC236}">
                <a16:creationId xmlns:a16="http://schemas.microsoft.com/office/drawing/2014/main" id="{53B07964-3042-82AB-4C08-3292E3BB6B1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3D251E4-3D63-1283-A01A-587FDB37B73B}"/>
              </a:ext>
            </a:extLst>
          </p:cNvPr>
          <p:cNvSpPr>
            <a:spLocks noGrp="1"/>
          </p:cNvSpPr>
          <p:nvPr>
            <p:ph type="sldNum" sz="quarter" idx="12"/>
          </p:nvPr>
        </p:nvSpPr>
        <p:spPr/>
        <p:txBody>
          <a:bodyPr/>
          <a:lstStyle/>
          <a:p>
            <a:fld id="{E9099AA9-EF87-40C7-98C8-7A3FDF11FE4C}" type="slidenum">
              <a:rPr lang="en-GB" smtClean="0"/>
              <a:t>‹#›</a:t>
            </a:fld>
            <a:endParaRPr lang="en-GB"/>
          </a:p>
        </p:txBody>
      </p:sp>
    </p:spTree>
    <p:extLst>
      <p:ext uri="{BB962C8B-B14F-4D97-AF65-F5344CB8AC3E}">
        <p14:creationId xmlns:p14="http://schemas.microsoft.com/office/powerpoint/2010/main" val="25645644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DACCCB-C238-F8E4-119B-F316B0D45B4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C592B8A-1BB3-3690-C18E-40A1FC37704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C3B908E-9124-2C87-9D60-C4D83AA1EC82}"/>
              </a:ext>
            </a:extLst>
          </p:cNvPr>
          <p:cNvSpPr>
            <a:spLocks noGrp="1"/>
          </p:cNvSpPr>
          <p:nvPr>
            <p:ph type="dt" sz="half" idx="10"/>
          </p:nvPr>
        </p:nvSpPr>
        <p:spPr/>
        <p:txBody>
          <a:bodyPr/>
          <a:lstStyle/>
          <a:p>
            <a:fld id="{242A02AC-01AD-4ECE-8FF3-CE8622F9EB76}" type="datetimeFigureOut">
              <a:rPr lang="en-GB" smtClean="0"/>
              <a:t>10/05/2026</a:t>
            </a:fld>
            <a:endParaRPr lang="en-GB"/>
          </a:p>
        </p:txBody>
      </p:sp>
      <p:sp>
        <p:nvSpPr>
          <p:cNvPr id="5" name="Footer Placeholder 4">
            <a:extLst>
              <a:ext uri="{FF2B5EF4-FFF2-40B4-BE49-F238E27FC236}">
                <a16:creationId xmlns:a16="http://schemas.microsoft.com/office/drawing/2014/main" id="{5FABCC5B-3637-5782-46F1-8368F465FF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2AF6CBB-7981-8DE6-8009-8AB1CB690C2F}"/>
              </a:ext>
            </a:extLst>
          </p:cNvPr>
          <p:cNvSpPr>
            <a:spLocks noGrp="1"/>
          </p:cNvSpPr>
          <p:nvPr>
            <p:ph type="sldNum" sz="quarter" idx="12"/>
          </p:nvPr>
        </p:nvSpPr>
        <p:spPr/>
        <p:txBody>
          <a:bodyPr/>
          <a:lstStyle/>
          <a:p>
            <a:fld id="{E9099AA9-EF87-40C7-98C8-7A3FDF11FE4C}" type="slidenum">
              <a:rPr lang="en-GB" smtClean="0"/>
              <a:t>‹#›</a:t>
            </a:fld>
            <a:endParaRPr lang="en-GB"/>
          </a:p>
        </p:txBody>
      </p:sp>
    </p:spTree>
    <p:extLst>
      <p:ext uri="{BB962C8B-B14F-4D97-AF65-F5344CB8AC3E}">
        <p14:creationId xmlns:p14="http://schemas.microsoft.com/office/powerpoint/2010/main" val="4277162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7200" y="682940"/>
            <a:ext cx="11283696"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 name="Title 1">
            <a:extLst>
              <a:ext uri="{FF2B5EF4-FFF2-40B4-BE49-F238E27FC236}">
                <a16:creationId xmlns:a16="http://schemas.microsoft.com/office/drawing/2014/main" id="{520116C2-BD5D-881E-163D-5E490F85980D}"/>
              </a:ext>
            </a:extLst>
          </p:cNvPr>
          <p:cNvSpPr>
            <a:spLocks noGrp="1"/>
          </p:cNvSpPr>
          <p:nvPr>
            <p:ph type="title"/>
          </p:nvPr>
        </p:nvSpPr>
        <p:spPr>
          <a:xfrm>
            <a:off x="457200" y="345664"/>
            <a:ext cx="11281285" cy="340136"/>
          </a:xfrm>
        </p:spPr>
        <p:txBody>
          <a:bodyPr/>
          <a:lstStyle/>
          <a:p>
            <a:r>
              <a:rPr lang="en-US"/>
              <a:t>Click to edit Master title style</a:t>
            </a:r>
          </a:p>
        </p:txBody>
      </p:sp>
    </p:spTree>
    <p:extLst>
      <p:ext uri="{BB962C8B-B14F-4D97-AF65-F5344CB8AC3E}">
        <p14:creationId xmlns:p14="http://schemas.microsoft.com/office/powerpoint/2010/main" val="94791687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58896737"/>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30924218"/>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73749"/>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Tree>
    <p:extLst>
      <p:ext uri="{BB962C8B-B14F-4D97-AF65-F5344CB8AC3E}">
        <p14:creationId xmlns:p14="http://schemas.microsoft.com/office/powerpoint/2010/main" val="1430636752"/>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20997646"/>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58431037"/>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49874604"/>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06007654"/>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51B6D-E0B3-9EB0-32CA-76882FF848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0999D41-9441-992C-DD08-3AF0DE9509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3C74DD-AEE1-E7AB-9610-78AF9816237D}"/>
              </a:ext>
            </a:extLst>
          </p:cNvPr>
          <p:cNvSpPr>
            <a:spLocks noGrp="1"/>
          </p:cNvSpPr>
          <p:nvPr>
            <p:ph type="dt" sz="half" idx="10"/>
          </p:nvPr>
        </p:nvSpPr>
        <p:spPr/>
        <p:txBody>
          <a:bodyPr/>
          <a:lstStyle/>
          <a:p>
            <a:fld id="{242A02AC-01AD-4ECE-8FF3-CE8622F9EB76}" type="datetimeFigureOut">
              <a:rPr lang="en-GB" smtClean="0"/>
              <a:t>10/05/2026</a:t>
            </a:fld>
            <a:endParaRPr lang="en-GB"/>
          </a:p>
        </p:txBody>
      </p:sp>
      <p:sp>
        <p:nvSpPr>
          <p:cNvPr id="5" name="Footer Placeholder 4">
            <a:extLst>
              <a:ext uri="{FF2B5EF4-FFF2-40B4-BE49-F238E27FC236}">
                <a16:creationId xmlns:a16="http://schemas.microsoft.com/office/drawing/2014/main" id="{914BF32D-D7A6-3F0D-D496-E5D18F34667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872F96C-3BA8-10CD-72C3-3FDA598A783B}"/>
              </a:ext>
            </a:extLst>
          </p:cNvPr>
          <p:cNvSpPr>
            <a:spLocks noGrp="1"/>
          </p:cNvSpPr>
          <p:nvPr>
            <p:ph type="sldNum" sz="quarter" idx="12"/>
          </p:nvPr>
        </p:nvSpPr>
        <p:spPr/>
        <p:txBody>
          <a:bodyPr/>
          <a:lstStyle/>
          <a:p>
            <a:fld id="{E9099AA9-EF87-40C7-98C8-7A3FDF11FE4C}" type="slidenum">
              <a:rPr lang="en-GB" smtClean="0"/>
              <a:t>‹#›</a:t>
            </a:fld>
            <a:endParaRPr lang="en-GB"/>
          </a:p>
        </p:txBody>
      </p:sp>
    </p:spTree>
    <p:extLst>
      <p:ext uri="{BB962C8B-B14F-4D97-AF65-F5344CB8AC3E}">
        <p14:creationId xmlns:p14="http://schemas.microsoft.com/office/powerpoint/2010/main" val="22255150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2561288"/>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42804637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83811858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3999" cy="340136"/>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0136"/>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131436505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1" y="684000"/>
            <a:ext cx="11303999"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295992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6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2" y="684000"/>
            <a:ext cx="11303998"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417709818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2" y="684000"/>
            <a:ext cx="11303998"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5698422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2" y="684000"/>
            <a:ext cx="11303998"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20653317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dirty="0"/>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dirty="0"/>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dirty="0"/>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dirty="0"/>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1" y="684000"/>
            <a:ext cx="11303999" cy="342000"/>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55703496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dirty="0"/>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dirty="0"/>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2" y="684000"/>
            <a:ext cx="11304000" cy="439317"/>
          </a:xfrm>
          <a:prstGeom prst="rect">
            <a:avLst/>
          </a:prstGeom>
        </p:spPr>
        <p:txBody>
          <a:bodyPr lIns="0" tIns="0" rIns="0" bIns="0" anchor="b"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049157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DB9FB-F5F8-560E-7A5C-2485C6767E6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0CA61E4-BAE6-BBA6-D4D0-76466C6546C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4EBBD92-46B5-BCA6-1C88-3C5BEFEA7B05}"/>
              </a:ext>
            </a:extLst>
          </p:cNvPr>
          <p:cNvSpPr>
            <a:spLocks noGrp="1"/>
          </p:cNvSpPr>
          <p:nvPr>
            <p:ph type="dt" sz="half" idx="10"/>
          </p:nvPr>
        </p:nvSpPr>
        <p:spPr/>
        <p:txBody>
          <a:bodyPr/>
          <a:lstStyle/>
          <a:p>
            <a:fld id="{242A02AC-01AD-4ECE-8FF3-CE8622F9EB76}" type="datetimeFigureOut">
              <a:rPr lang="en-GB" smtClean="0"/>
              <a:t>10/05/2026</a:t>
            </a:fld>
            <a:endParaRPr lang="en-GB"/>
          </a:p>
        </p:txBody>
      </p:sp>
      <p:sp>
        <p:nvSpPr>
          <p:cNvPr id="5" name="Footer Placeholder 4">
            <a:extLst>
              <a:ext uri="{FF2B5EF4-FFF2-40B4-BE49-F238E27FC236}">
                <a16:creationId xmlns:a16="http://schemas.microsoft.com/office/drawing/2014/main" id="{AD5C9591-1A88-2CC0-21F3-C97021DDBAA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55DB29C-F859-B10A-CBA1-C980E07195D7}"/>
              </a:ext>
            </a:extLst>
          </p:cNvPr>
          <p:cNvSpPr>
            <a:spLocks noGrp="1"/>
          </p:cNvSpPr>
          <p:nvPr>
            <p:ph type="sldNum" sz="quarter" idx="12"/>
          </p:nvPr>
        </p:nvSpPr>
        <p:spPr/>
        <p:txBody>
          <a:bodyPr/>
          <a:lstStyle/>
          <a:p>
            <a:fld id="{E9099AA9-EF87-40C7-98C8-7A3FDF11FE4C}" type="slidenum">
              <a:rPr lang="en-GB" smtClean="0"/>
              <a:t>‹#›</a:t>
            </a:fld>
            <a:endParaRPr lang="en-GB"/>
          </a:p>
        </p:txBody>
      </p:sp>
    </p:spTree>
    <p:extLst>
      <p:ext uri="{BB962C8B-B14F-4D97-AF65-F5344CB8AC3E}">
        <p14:creationId xmlns:p14="http://schemas.microsoft.com/office/powerpoint/2010/main" val="2128064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spTree>
    <p:extLst>
      <p:ext uri="{BB962C8B-B14F-4D97-AF65-F5344CB8AC3E}">
        <p14:creationId xmlns:p14="http://schemas.microsoft.com/office/powerpoint/2010/main" val="37974985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758962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706713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1" y="684000"/>
            <a:ext cx="11304000" cy="439317"/>
          </a:xfrm>
          <a:prstGeom prst="rect">
            <a:avLst/>
          </a:prstGeom>
        </p:spPr>
        <p:txBody>
          <a:bodyPr lIns="0" tIns="0" rIns="0" bIns="0" anchor="b">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2183083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9C36FB10-1EF5-A9A4-577D-A18DA4D120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439317"/>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1" y="684000"/>
            <a:ext cx="11304000" cy="439317"/>
          </a:xfrm>
          <a:prstGeom prst="rect">
            <a:avLst/>
          </a:prstGeom>
        </p:spPr>
        <p:txBody>
          <a:bodyPr vert="horz" lIns="0" tIns="0" rIns="0" bIns="0" rtlCol="0" anchor="b"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Tree>
    <p:extLst>
      <p:ext uri="{BB962C8B-B14F-4D97-AF65-F5344CB8AC3E}">
        <p14:creationId xmlns:p14="http://schemas.microsoft.com/office/powerpoint/2010/main" val="5147530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05E6F299-A818-CA93-A927-F61A877DA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3600"/>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1" y="684000"/>
            <a:ext cx="11304000" cy="439317"/>
          </a:xfrm>
          <a:prstGeom prst="rect">
            <a:avLst/>
          </a:prstGeom>
        </p:spPr>
        <p:txBody>
          <a:bodyPr vert="horz" lIns="0" tIns="0" rIns="0" bIns="0" rtlCol="0" anchor="b"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3" name="Content Placeholder 3">
            <a:extLst>
              <a:ext uri="{FF2B5EF4-FFF2-40B4-BE49-F238E27FC236}">
                <a16:creationId xmlns:a16="http://schemas.microsoft.com/office/drawing/2014/main" id="{45E59B36-2F4F-A0E8-D1A8-C198F28B171E}"/>
              </a:ext>
            </a:extLst>
          </p:cNvPr>
          <p:cNvSpPr>
            <a:spLocks noGrp="1"/>
          </p:cNvSpPr>
          <p:nvPr>
            <p:ph sz="quarter" idx="15"/>
          </p:nvPr>
        </p:nvSpPr>
        <p:spPr>
          <a:xfrm>
            <a:off x="6246000" y="1713600"/>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4448470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D82120E2-D6C2-D764-40A5-E97D48121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439200"/>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a:t>Click to add subtitle</a:t>
            </a:r>
          </a:p>
        </p:txBody>
      </p:sp>
      <p:sp>
        <p:nvSpPr>
          <p:cNvPr id="4" name="Content Placeholder 3">
            <a:extLst>
              <a:ext uri="{FF2B5EF4-FFF2-40B4-BE49-F238E27FC236}">
                <a16:creationId xmlns:a16="http://schemas.microsoft.com/office/drawing/2014/main" id="{DF0E9C8C-3361-2EBB-1420-4D27917305A8}"/>
              </a:ext>
            </a:extLst>
          </p:cNvPr>
          <p:cNvSpPr>
            <a:spLocks noGrp="1"/>
          </p:cNvSpPr>
          <p:nvPr>
            <p:ph sz="quarter" idx="17"/>
          </p:nvPr>
        </p:nvSpPr>
        <p:spPr>
          <a:xfrm>
            <a:off x="4327048"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CD594323-BB1E-32C6-75D1-37D14037392C}"/>
              </a:ext>
            </a:extLst>
          </p:cNvPr>
          <p:cNvSpPr>
            <a:spLocks noGrp="1"/>
          </p:cNvSpPr>
          <p:nvPr>
            <p:ph sz="quarter" idx="18"/>
          </p:nvPr>
        </p:nvSpPr>
        <p:spPr>
          <a:xfrm>
            <a:off x="8204096" y="1713600"/>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3818724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AF0D7E5-2029-3151-0D44-92D925760B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439200"/>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3" name="Content Placeholder 3">
            <a:extLst>
              <a:ext uri="{FF2B5EF4-FFF2-40B4-BE49-F238E27FC236}">
                <a16:creationId xmlns:a16="http://schemas.microsoft.com/office/drawing/2014/main" id="{39EE392B-1FEE-21B0-181D-C9962A3FE8E5}"/>
              </a:ext>
            </a:extLst>
          </p:cNvPr>
          <p:cNvSpPr>
            <a:spLocks noGrp="1"/>
          </p:cNvSpPr>
          <p:nvPr>
            <p:ph sz="quarter" idx="18"/>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EC71861D-BC3F-2DAD-BA49-86947F937CC5}"/>
              </a:ext>
            </a:extLst>
          </p:cNvPr>
          <p:cNvSpPr>
            <a:spLocks noGrp="1"/>
          </p:cNvSpPr>
          <p:nvPr>
            <p:ph sz="quarter" idx="19"/>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3">
            <a:extLst>
              <a:ext uri="{FF2B5EF4-FFF2-40B4-BE49-F238E27FC236}">
                <a16:creationId xmlns:a16="http://schemas.microsoft.com/office/drawing/2014/main" id="{6D62757C-35E9-6C73-1638-E2D99D8D412E}"/>
              </a:ext>
            </a:extLst>
          </p:cNvPr>
          <p:cNvSpPr>
            <a:spLocks noGrp="1"/>
          </p:cNvSpPr>
          <p:nvPr>
            <p:ph sz="quarter" idx="20"/>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2049402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3E4C1F1A-C2FD-0E2E-2497-1640B8CFB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dirty="0"/>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dirty="0"/>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dirty="0"/>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dirty="0"/>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439200"/>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Tree>
    <p:extLst>
      <p:ext uri="{BB962C8B-B14F-4D97-AF65-F5344CB8AC3E}">
        <p14:creationId xmlns:p14="http://schemas.microsoft.com/office/powerpoint/2010/main" val="393336227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7C7A401-E3C4-4448-BB60-24DC9B089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dirty="0"/>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dirty="0"/>
              <a:t>Click icon to add picture</a:t>
            </a:r>
            <a:endParaRPr lang="en-GB" dirty="0"/>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2" y="684000"/>
            <a:ext cx="11162349" cy="439317"/>
          </a:xfrm>
          <a:prstGeom prst="rect">
            <a:avLst/>
          </a:prstGeom>
        </p:spPr>
        <p:txBody>
          <a:bodyPr vert="horz" lIns="0" tIns="0" rIns="0" bIns="0" rtlCol="0" anchor="b"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Content Placeholder 3">
            <a:extLst>
              <a:ext uri="{FF2B5EF4-FFF2-40B4-BE49-F238E27FC236}">
                <a16:creationId xmlns:a16="http://schemas.microsoft.com/office/drawing/2014/main" id="{746306D7-050B-5308-5E5B-4221EF4A7F66}"/>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808691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37931-D2CC-71F7-3D79-FD64BC37791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C9078C9-FFFE-CBA7-70FF-629654FDB2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26CD618-6A00-614A-E1A9-D96DA11BE27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2C8C54C6-0F70-3BC2-0793-7549EEDFCF2C}"/>
              </a:ext>
            </a:extLst>
          </p:cNvPr>
          <p:cNvSpPr>
            <a:spLocks noGrp="1"/>
          </p:cNvSpPr>
          <p:nvPr>
            <p:ph type="dt" sz="half" idx="10"/>
          </p:nvPr>
        </p:nvSpPr>
        <p:spPr/>
        <p:txBody>
          <a:bodyPr/>
          <a:lstStyle/>
          <a:p>
            <a:fld id="{242A02AC-01AD-4ECE-8FF3-CE8622F9EB76}" type="datetimeFigureOut">
              <a:rPr lang="en-GB" smtClean="0"/>
              <a:t>10/05/2026</a:t>
            </a:fld>
            <a:endParaRPr lang="en-GB"/>
          </a:p>
        </p:txBody>
      </p:sp>
      <p:sp>
        <p:nvSpPr>
          <p:cNvPr id="6" name="Footer Placeholder 5">
            <a:extLst>
              <a:ext uri="{FF2B5EF4-FFF2-40B4-BE49-F238E27FC236}">
                <a16:creationId xmlns:a16="http://schemas.microsoft.com/office/drawing/2014/main" id="{C680E475-0E2E-9239-4DA6-AF9E4F99ED8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43243D4-E8BB-84AF-7313-78836CCBC934}"/>
              </a:ext>
            </a:extLst>
          </p:cNvPr>
          <p:cNvSpPr>
            <a:spLocks noGrp="1"/>
          </p:cNvSpPr>
          <p:nvPr>
            <p:ph type="sldNum" sz="quarter" idx="12"/>
          </p:nvPr>
        </p:nvSpPr>
        <p:spPr/>
        <p:txBody>
          <a:bodyPr/>
          <a:lstStyle/>
          <a:p>
            <a:fld id="{E9099AA9-EF87-40C7-98C8-7A3FDF11FE4C}" type="slidenum">
              <a:rPr lang="en-GB" smtClean="0"/>
              <a:t>‹#›</a:t>
            </a:fld>
            <a:endParaRPr lang="en-GB"/>
          </a:p>
        </p:txBody>
      </p:sp>
    </p:spTree>
    <p:extLst>
      <p:ext uri="{BB962C8B-B14F-4D97-AF65-F5344CB8AC3E}">
        <p14:creationId xmlns:p14="http://schemas.microsoft.com/office/powerpoint/2010/main" val="14682293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sp>
        <p:nvSpPr>
          <p:cNvPr id="2" name="text" descr="{&quot;templafy&quot;:{&quot;id&quot;:&quot;b843df20-a2a8-47ff-8d2f-8b76831b1aba&quot;}}" title="UserProfile.LegalEntity.{{Form.InternalExternal.PowerpointPrefix}}_{{DocumentLanguage}}">
            <a:extLst>
              <a:ext uri="{FF2B5EF4-FFF2-40B4-BE49-F238E27FC236}">
                <a16:creationId xmlns:a16="http://schemas.microsoft.com/office/drawing/2014/main" id="{3681E1AB-89CD-7DF1-898B-6930F76975A9}"/>
              </a:ext>
            </a:extLst>
          </p:cNvPr>
          <p:cNvSpPr txBox="1"/>
          <p:nvPr userDrawn="1"/>
        </p:nvSpPr>
        <p:spPr>
          <a:xfrm>
            <a:off x="474359" y="2756620"/>
            <a:ext cx="7623175" cy="3999600"/>
          </a:xfrm>
          <a:prstGeom prst="rect">
            <a:avLst/>
          </a:prstGeom>
          <a:noFill/>
        </p:spPr>
        <p:txBody>
          <a:bodyPr wrap="square" lIns="0" tIns="0" rIns="0" bIns="0" rtlCol="0" anchor="b" anchorCtr="0">
            <a:noAutofit/>
          </a:bodyPr>
          <a:lstStyle/>
          <a:p>
            <a:r>
              <a:rPr lang="en-US" sz="900" kern="1200" dirty="0">
                <a:solidFill>
                  <a:schemeClr val="bg1"/>
                </a:solidFill>
                <a:effectLst/>
                <a:latin typeface="Calibri Light" panose="020F0302020204030204" pitchFamily="34" charset="0"/>
                <a:ea typeface="+mn-ea"/>
                <a:cs typeface="Calibri Light" panose="020F0302020204030204" pitchFamily="34" charset="0"/>
              </a:rPr>
              <a:t>© 2024 Deloitte LLP. All rights reserved.</a:t>
            </a:r>
          </a:p>
        </p:txBody>
      </p:sp>
      <p:sp>
        <p:nvSpPr>
          <p:cNvPr id="4" name="text" descr="{&quot;templafy&quot;:{&quot;id&quot;:&quot;a1df6329-ca24-4aa8-9cad-f81529424f2d&quot;}}" title="UserProfile.LegalEntity.{{Form.InternalExternal.PowerpointPrefix}}_{{DocumentLanguage}}">
            <a:extLst>
              <a:ext uri="{FF2B5EF4-FFF2-40B4-BE49-F238E27FC236}">
                <a16:creationId xmlns:a16="http://schemas.microsoft.com/office/drawing/2014/main" id="{5A246C98-8FAA-F713-4E01-9E44E7990DFA}"/>
              </a:ext>
            </a:extLst>
          </p:cNvPr>
          <p:cNvSpPr txBox="1"/>
          <p:nvPr userDrawn="1"/>
        </p:nvSpPr>
        <p:spPr>
          <a:xfrm>
            <a:off x="474359" y="2590763"/>
            <a:ext cx="7623175" cy="3999600"/>
          </a:xfrm>
          <a:prstGeom prst="rect">
            <a:avLst/>
          </a:prstGeom>
          <a:noFill/>
        </p:spPr>
        <p:txBody>
          <a:bodyPr wrap="square" lIns="0" tIns="0" rIns="0" bIns="0" rtlCol="0" anchor="b" anchorCtr="0">
            <a:noAutofit/>
          </a:bodyPr>
          <a:lstStyle/>
          <a:p>
            <a:r>
              <a:rPr lang="en-US" sz="900" kern="1200" dirty="0">
                <a:solidFill>
                  <a:schemeClr val="bg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LLP and its subsidiaries. It is not to be copied or made available to any other party.
</a:t>
            </a:r>
          </a:p>
        </p:txBody>
      </p:sp>
      <p:sp>
        <p:nvSpPr>
          <p:cNvPr id="5" name="text" descr="{&quot;templafy&quot;:{&quot;id&quot;:&quot;70604009-c25b-4e30-aaa1-0c3811d9251b&quot;}}" hidden="1" title="UserProfile.LegalEntity.{{Form.InternalExternal.PowerpointPrefix}}_{{DocumentLanguage}}">
            <a:extLst>
              <a:ext uri="{FF2B5EF4-FFF2-40B4-BE49-F238E27FC236}">
                <a16:creationId xmlns:a16="http://schemas.microsoft.com/office/drawing/2014/main" id="{DBD076A7-8F09-DF3B-FDC4-B91A9270E886}"/>
              </a:ext>
            </a:extLst>
          </p:cNvPr>
          <p:cNvSpPr txBox="1"/>
          <p:nvPr userDrawn="1"/>
        </p:nvSpPr>
        <p:spPr>
          <a:xfrm>
            <a:off x="474359" y="2424905"/>
            <a:ext cx="7623175" cy="3999600"/>
          </a:xfrm>
          <a:prstGeom prst="rect">
            <a:avLst/>
          </a:prstGeom>
          <a:noFill/>
        </p:spPr>
        <p:txBody>
          <a:bodyPr wrap="square" lIns="0" tIns="0" rIns="0" bIns="0" rtlCol="0" anchor="b" anchorCtr="0">
            <a:noAutofit/>
          </a:bodyPr>
          <a:lstStyle/>
          <a:p>
            <a:r>
              <a:rPr lang="en-US" sz="900" kern="1200" dirty="0">
                <a:solidFill>
                  <a:schemeClr val="bg1"/>
                </a:solidFill>
                <a:effectLst/>
                <a:latin typeface="Calibri Light" panose="020F0302020204030204" pitchFamily="34" charset="0"/>
                <a:ea typeface="+mn-ea"/>
                <a:cs typeface="Calibri Light" panose="020F0302020204030204" pitchFamily="34" charset="0"/>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1 New Street Square, London, EC4A 3HQ, United Kingdom. 
Deloitte LLP is the United Kingdom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www.deloitte.com/about to learn more about our global network of member firms.
</a:t>
            </a:r>
          </a:p>
        </p:txBody>
      </p:sp>
    </p:spTree>
    <p:extLst>
      <p:ext uri="{BB962C8B-B14F-4D97-AF65-F5344CB8AC3E}">
        <p14:creationId xmlns:p14="http://schemas.microsoft.com/office/powerpoint/2010/main" val="36528730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B">
    <p:bg>
      <p:bgRef idx="1001">
        <a:schemeClr val="bg1"/>
      </p:bgRef>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393186EF-EDA6-4FB6-DBB5-0870ED2DE095}"/>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US"/>
              <a:t>Click to add subtitle</a:t>
            </a:r>
          </a:p>
        </p:txBody>
      </p:sp>
      <p:sp>
        <p:nvSpPr>
          <p:cNvPr id="5" name="Title 4">
            <a:extLst>
              <a:ext uri="{FF2B5EF4-FFF2-40B4-BE49-F238E27FC236}">
                <a16:creationId xmlns:a16="http://schemas.microsoft.com/office/drawing/2014/main" id="{5A96E061-D2C3-FC25-D627-4011DE92818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33367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CA" noProof="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endParaRPr lang="en-CA" noProof="0" dirty="0"/>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2291857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9467474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mj-lt"/>
              </a:defRPr>
            </a:lvl1pPr>
          </a:lstStyle>
          <a:p>
            <a:r>
              <a:rPr lang="en-GB"/>
              <a:t>Click to add title</a:t>
            </a:r>
          </a:p>
        </p:txBody>
      </p:sp>
    </p:spTree>
    <p:extLst>
      <p:ext uri="{BB962C8B-B14F-4D97-AF65-F5344CB8AC3E}">
        <p14:creationId xmlns:p14="http://schemas.microsoft.com/office/powerpoint/2010/main" val="376399912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2" y="1665290"/>
            <a:ext cx="5305579" cy="4716461"/>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5" name="Content Placeholder 3"/>
          <p:cNvSpPr>
            <a:spLocks noGrp="1"/>
          </p:cNvSpPr>
          <p:nvPr>
            <p:ph sz="quarter" idx="20"/>
          </p:nvPr>
        </p:nvSpPr>
        <p:spPr>
          <a:xfrm>
            <a:off x="6381540" y="1665290"/>
            <a:ext cx="5322781" cy="4716461"/>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mj-lt"/>
              </a:defRPr>
            </a:lvl1pPr>
          </a:lstStyle>
          <a:p>
            <a:r>
              <a:rPr lang="en-GB"/>
              <a:t>Click to add title</a:t>
            </a:r>
          </a:p>
        </p:txBody>
      </p:sp>
    </p:spTree>
    <p:extLst>
      <p:ext uri="{BB962C8B-B14F-4D97-AF65-F5344CB8AC3E}">
        <p14:creationId xmlns:p14="http://schemas.microsoft.com/office/powerpoint/2010/main" val="5400648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0BE52-11DF-D125-DF2E-CF3DDDA4150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71558C8-F7BB-5272-8D16-07E47E6A4FC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0A1FFD7-C47F-E5FF-2287-1E651072FAE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DBEBF27-9C96-A78A-05D4-C3CA50F8F03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668D954-E6E5-D303-4456-D46F6B6A8DB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A37561C-25CE-1CC4-0119-5380D4D49D9E}"/>
              </a:ext>
            </a:extLst>
          </p:cNvPr>
          <p:cNvSpPr>
            <a:spLocks noGrp="1"/>
          </p:cNvSpPr>
          <p:nvPr>
            <p:ph type="dt" sz="half" idx="10"/>
          </p:nvPr>
        </p:nvSpPr>
        <p:spPr/>
        <p:txBody>
          <a:bodyPr/>
          <a:lstStyle/>
          <a:p>
            <a:fld id="{242A02AC-01AD-4ECE-8FF3-CE8622F9EB76}" type="datetimeFigureOut">
              <a:rPr lang="en-GB" smtClean="0"/>
              <a:t>10/05/2026</a:t>
            </a:fld>
            <a:endParaRPr lang="en-GB"/>
          </a:p>
        </p:txBody>
      </p:sp>
      <p:sp>
        <p:nvSpPr>
          <p:cNvPr id="8" name="Footer Placeholder 7">
            <a:extLst>
              <a:ext uri="{FF2B5EF4-FFF2-40B4-BE49-F238E27FC236}">
                <a16:creationId xmlns:a16="http://schemas.microsoft.com/office/drawing/2014/main" id="{78A4C763-5CBC-1C4C-86F0-27F685FB800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CC982BD-6E5C-E430-E371-B3E139B8D5E2}"/>
              </a:ext>
            </a:extLst>
          </p:cNvPr>
          <p:cNvSpPr>
            <a:spLocks noGrp="1"/>
          </p:cNvSpPr>
          <p:nvPr>
            <p:ph type="sldNum" sz="quarter" idx="12"/>
          </p:nvPr>
        </p:nvSpPr>
        <p:spPr/>
        <p:txBody>
          <a:bodyPr/>
          <a:lstStyle/>
          <a:p>
            <a:fld id="{E9099AA9-EF87-40C7-98C8-7A3FDF11FE4C}" type="slidenum">
              <a:rPr lang="en-GB" smtClean="0"/>
              <a:t>‹#›</a:t>
            </a:fld>
            <a:endParaRPr lang="en-GB"/>
          </a:p>
        </p:txBody>
      </p:sp>
    </p:spTree>
    <p:extLst>
      <p:ext uri="{BB962C8B-B14F-4D97-AF65-F5344CB8AC3E}">
        <p14:creationId xmlns:p14="http://schemas.microsoft.com/office/powerpoint/2010/main" val="11098511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24D8C-C399-865B-E708-A0D9D6F4013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7654D10-AB14-C406-14A2-E4A08F5C4591}"/>
              </a:ext>
            </a:extLst>
          </p:cNvPr>
          <p:cNvSpPr>
            <a:spLocks noGrp="1"/>
          </p:cNvSpPr>
          <p:nvPr>
            <p:ph type="dt" sz="half" idx="10"/>
          </p:nvPr>
        </p:nvSpPr>
        <p:spPr/>
        <p:txBody>
          <a:bodyPr/>
          <a:lstStyle/>
          <a:p>
            <a:fld id="{242A02AC-01AD-4ECE-8FF3-CE8622F9EB76}" type="datetimeFigureOut">
              <a:rPr lang="en-GB" smtClean="0"/>
              <a:t>10/05/2026</a:t>
            </a:fld>
            <a:endParaRPr lang="en-GB"/>
          </a:p>
        </p:txBody>
      </p:sp>
      <p:sp>
        <p:nvSpPr>
          <p:cNvPr id="4" name="Footer Placeholder 3">
            <a:extLst>
              <a:ext uri="{FF2B5EF4-FFF2-40B4-BE49-F238E27FC236}">
                <a16:creationId xmlns:a16="http://schemas.microsoft.com/office/drawing/2014/main" id="{A8E84837-5CCF-C7EB-D23C-716D1B7A5DD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757708C-269D-3566-A765-470443BDCB32}"/>
              </a:ext>
            </a:extLst>
          </p:cNvPr>
          <p:cNvSpPr>
            <a:spLocks noGrp="1"/>
          </p:cNvSpPr>
          <p:nvPr>
            <p:ph type="sldNum" sz="quarter" idx="12"/>
          </p:nvPr>
        </p:nvSpPr>
        <p:spPr/>
        <p:txBody>
          <a:bodyPr/>
          <a:lstStyle/>
          <a:p>
            <a:fld id="{E9099AA9-EF87-40C7-98C8-7A3FDF11FE4C}" type="slidenum">
              <a:rPr lang="en-GB" smtClean="0"/>
              <a:t>‹#›</a:t>
            </a:fld>
            <a:endParaRPr lang="en-GB"/>
          </a:p>
        </p:txBody>
      </p:sp>
    </p:spTree>
    <p:extLst>
      <p:ext uri="{BB962C8B-B14F-4D97-AF65-F5344CB8AC3E}">
        <p14:creationId xmlns:p14="http://schemas.microsoft.com/office/powerpoint/2010/main" val="36402196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8D381D7-C23E-9EAD-0D23-9225604DE4A3}"/>
              </a:ext>
            </a:extLst>
          </p:cNvPr>
          <p:cNvSpPr>
            <a:spLocks noGrp="1"/>
          </p:cNvSpPr>
          <p:nvPr>
            <p:ph type="dt" sz="half" idx="10"/>
          </p:nvPr>
        </p:nvSpPr>
        <p:spPr/>
        <p:txBody>
          <a:bodyPr/>
          <a:lstStyle/>
          <a:p>
            <a:fld id="{242A02AC-01AD-4ECE-8FF3-CE8622F9EB76}" type="datetimeFigureOut">
              <a:rPr lang="en-GB" smtClean="0"/>
              <a:t>10/05/2026</a:t>
            </a:fld>
            <a:endParaRPr lang="en-GB"/>
          </a:p>
        </p:txBody>
      </p:sp>
      <p:sp>
        <p:nvSpPr>
          <p:cNvPr id="3" name="Footer Placeholder 2">
            <a:extLst>
              <a:ext uri="{FF2B5EF4-FFF2-40B4-BE49-F238E27FC236}">
                <a16:creationId xmlns:a16="http://schemas.microsoft.com/office/drawing/2014/main" id="{5A521B20-E664-6BE2-3340-D8E3007F126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1C4DDDE-3E7C-B532-23AD-20BA328793E3}"/>
              </a:ext>
            </a:extLst>
          </p:cNvPr>
          <p:cNvSpPr>
            <a:spLocks noGrp="1"/>
          </p:cNvSpPr>
          <p:nvPr>
            <p:ph type="sldNum" sz="quarter" idx="12"/>
          </p:nvPr>
        </p:nvSpPr>
        <p:spPr/>
        <p:txBody>
          <a:bodyPr/>
          <a:lstStyle/>
          <a:p>
            <a:fld id="{E9099AA9-EF87-40C7-98C8-7A3FDF11FE4C}" type="slidenum">
              <a:rPr lang="en-GB" smtClean="0"/>
              <a:t>‹#›</a:t>
            </a:fld>
            <a:endParaRPr lang="en-GB"/>
          </a:p>
        </p:txBody>
      </p:sp>
    </p:spTree>
    <p:extLst>
      <p:ext uri="{BB962C8B-B14F-4D97-AF65-F5344CB8AC3E}">
        <p14:creationId xmlns:p14="http://schemas.microsoft.com/office/powerpoint/2010/main" val="1702249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C22F4-88A3-B27B-3B11-5CC1C394D0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8CAAB41-12E0-D34E-50A4-A8BA26A2FFC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832AF82-FBA3-5C3E-4C1E-72B3649181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6E6717-1DBA-DBC8-4D84-64535A24A8E0}"/>
              </a:ext>
            </a:extLst>
          </p:cNvPr>
          <p:cNvSpPr>
            <a:spLocks noGrp="1"/>
          </p:cNvSpPr>
          <p:nvPr>
            <p:ph type="dt" sz="half" idx="10"/>
          </p:nvPr>
        </p:nvSpPr>
        <p:spPr/>
        <p:txBody>
          <a:bodyPr/>
          <a:lstStyle/>
          <a:p>
            <a:fld id="{242A02AC-01AD-4ECE-8FF3-CE8622F9EB76}" type="datetimeFigureOut">
              <a:rPr lang="en-GB" smtClean="0"/>
              <a:t>10/05/2026</a:t>
            </a:fld>
            <a:endParaRPr lang="en-GB"/>
          </a:p>
        </p:txBody>
      </p:sp>
      <p:sp>
        <p:nvSpPr>
          <p:cNvPr id="6" name="Footer Placeholder 5">
            <a:extLst>
              <a:ext uri="{FF2B5EF4-FFF2-40B4-BE49-F238E27FC236}">
                <a16:creationId xmlns:a16="http://schemas.microsoft.com/office/drawing/2014/main" id="{9B54D96E-A535-3180-B199-94D6465BD06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A5B8F3B-70F3-C085-EE0E-77EB4FBA496D}"/>
              </a:ext>
            </a:extLst>
          </p:cNvPr>
          <p:cNvSpPr>
            <a:spLocks noGrp="1"/>
          </p:cNvSpPr>
          <p:nvPr>
            <p:ph type="sldNum" sz="quarter" idx="12"/>
          </p:nvPr>
        </p:nvSpPr>
        <p:spPr/>
        <p:txBody>
          <a:bodyPr/>
          <a:lstStyle/>
          <a:p>
            <a:fld id="{E9099AA9-EF87-40C7-98C8-7A3FDF11FE4C}" type="slidenum">
              <a:rPr lang="en-GB" smtClean="0"/>
              <a:t>‹#›</a:t>
            </a:fld>
            <a:endParaRPr lang="en-GB"/>
          </a:p>
        </p:txBody>
      </p:sp>
    </p:spTree>
    <p:extLst>
      <p:ext uri="{BB962C8B-B14F-4D97-AF65-F5344CB8AC3E}">
        <p14:creationId xmlns:p14="http://schemas.microsoft.com/office/powerpoint/2010/main" val="38454603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A493A-592D-2031-439D-0B56995EB3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C866507-FB26-5C74-D1E2-04DE6FA59B3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BF6FB53-3A6C-D2D2-967F-21EEB580CA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1A1C833-856B-7BBE-3C1A-64F149700A04}"/>
              </a:ext>
            </a:extLst>
          </p:cNvPr>
          <p:cNvSpPr>
            <a:spLocks noGrp="1"/>
          </p:cNvSpPr>
          <p:nvPr>
            <p:ph type="dt" sz="half" idx="10"/>
          </p:nvPr>
        </p:nvSpPr>
        <p:spPr/>
        <p:txBody>
          <a:bodyPr/>
          <a:lstStyle/>
          <a:p>
            <a:fld id="{242A02AC-01AD-4ECE-8FF3-CE8622F9EB76}" type="datetimeFigureOut">
              <a:rPr lang="en-GB" smtClean="0"/>
              <a:t>10/05/2026</a:t>
            </a:fld>
            <a:endParaRPr lang="en-GB"/>
          </a:p>
        </p:txBody>
      </p:sp>
      <p:sp>
        <p:nvSpPr>
          <p:cNvPr id="6" name="Footer Placeholder 5">
            <a:extLst>
              <a:ext uri="{FF2B5EF4-FFF2-40B4-BE49-F238E27FC236}">
                <a16:creationId xmlns:a16="http://schemas.microsoft.com/office/drawing/2014/main" id="{EF0CE505-CCF2-8F7E-8267-9D9DC2B1545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952920F-90AA-5FC8-4432-587D7837532E}"/>
              </a:ext>
            </a:extLst>
          </p:cNvPr>
          <p:cNvSpPr>
            <a:spLocks noGrp="1"/>
          </p:cNvSpPr>
          <p:nvPr>
            <p:ph type="sldNum" sz="quarter" idx="12"/>
          </p:nvPr>
        </p:nvSpPr>
        <p:spPr/>
        <p:txBody>
          <a:bodyPr/>
          <a:lstStyle/>
          <a:p>
            <a:fld id="{E9099AA9-EF87-40C7-98C8-7A3FDF11FE4C}" type="slidenum">
              <a:rPr lang="en-GB" smtClean="0"/>
              <a:t>‹#›</a:t>
            </a:fld>
            <a:endParaRPr lang="en-GB"/>
          </a:p>
        </p:txBody>
      </p:sp>
    </p:spTree>
    <p:extLst>
      <p:ext uri="{BB962C8B-B14F-4D97-AF65-F5344CB8AC3E}">
        <p14:creationId xmlns:p14="http://schemas.microsoft.com/office/powerpoint/2010/main" val="1023438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21" Type="http://schemas.openxmlformats.org/officeDocument/2006/relationships/slideLayout" Target="../slideLayouts/slideLayout33.xml"/><Relationship Id="rId34"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image" Target="../media/image1.emf"/><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oleObject" Target="../embeddings/oleObject1.bin"/><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tags" Target="../tags/tag1.xml"/><Relationship Id="rId8" Type="http://schemas.openxmlformats.org/officeDocument/2006/relationships/slideLayout" Target="../slideLayouts/slideLayout20.xml"/><Relationship Id="rId3"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7EE648-AA1D-EA1D-FA8C-77FDF151319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920ABAE-DEBB-D6F5-4A8D-40BFF917CF6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24213A1-8DF3-1DA4-8CF4-46EAD54FE4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42A02AC-01AD-4ECE-8FF3-CE8622F9EB76}" type="datetimeFigureOut">
              <a:rPr lang="en-GB" smtClean="0"/>
              <a:t>10/05/2026</a:t>
            </a:fld>
            <a:endParaRPr lang="en-GB"/>
          </a:p>
        </p:txBody>
      </p:sp>
      <p:sp>
        <p:nvSpPr>
          <p:cNvPr id="5" name="Footer Placeholder 4">
            <a:extLst>
              <a:ext uri="{FF2B5EF4-FFF2-40B4-BE49-F238E27FC236}">
                <a16:creationId xmlns:a16="http://schemas.microsoft.com/office/drawing/2014/main" id="{BA233D71-C741-EBF4-4276-2026399E0B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A1D0425B-9DA3-4FF1-CCBC-F198FBD0F4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9099AA9-EF87-40C7-98C8-7A3FDF11FE4C}" type="slidenum">
              <a:rPr lang="en-GB" smtClean="0"/>
              <a:t>‹#›</a:t>
            </a:fld>
            <a:endParaRPr lang="en-GB"/>
          </a:p>
        </p:txBody>
      </p:sp>
    </p:spTree>
    <p:extLst>
      <p:ext uri="{BB962C8B-B14F-4D97-AF65-F5344CB8AC3E}">
        <p14:creationId xmlns:p14="http://schemas.microsoft.com/office/powerpoint/2010/main" val="11538702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1544239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Lst>
  <p:transition>
    <p:fade/>
  </p:transition>
  <p:hf hdr="0" ft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70" orient="horz" pos="1071">
          <p15:clr>
            <a:srgbClr val="F26B43"/>
          </p15:clr>
        </p15:guide>
        <p15:guide id="71" orient="horz" pos="216">
          <p15:clr>
            <a:srgbClr val="F26B43"/>
          </p15:clr>
        </p15:guide>
        <p15:guide id="72" pos="3840">
          <p15:clr>
            <a:srgbClr val="F26B43"/>
          </p15:clr>
        </p15:guide>
        <p15:guide id="73" pos="3931">
          <p15:clr>
            <a:srgbClr val="F26B43"/>
          </p15:clr>
        </p15:guide>
        <p15:guide id="74" pos="279">
          <p15:clr>
            <a:srgbClr val="F26B43"/>
          </p15:clr>
        </p15:guide>
        <p15:guide id="76" pos="3749">
          <p15:clr>
            <a:srgbClr val="F26B43"/>
          </p15:clr>
        </p15:guide>
        <p15:guide id="84" pos="740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customXml" Target="../../customXml/item2.xml"/><Relationship Id="rId1" Type="http://schemas.openxmlformats.org/officeDocument/2006/relationships/customXml" Target="../../customXml/item1.xml"/><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customXml" Target="../../customXml/item4.xml"/><Relationship Id="rId1" Type="http://schemas.openxmlformats.org/officeDocument/2006/relationships/customXml" Target="../../customXml/item3.xml"/><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DA7D181-27E6-0DC6-F3FB-7D166AE7A074}"/>
              </a:ext>
            </a:extLst>
          </p:cNvPr>
          <p:cNvSpPr txBox="1">
            <a:spLocks/>
          </p:cNvSpPr>
          <p:nvPr/>
        </p:nvSpPr>
        <p:spPr bwMode="gray">
          <a:xfrm>
            <a:off x="457200" y="345664"/>
            <a:ext cx="11281285" cy="340136"/>
          </a:xfrm>
          <a:prstGeom prst="rect">
            <a:avLst/>
          </a:prstGeom>
        </p:spPr>
        <p:txBody>
          <a:bodyPr vert="horz" lIns="0" tIns="0" rIns="0" bIns="0" rtlCol="0" anchor="t" anchorCtr="0">
            <a:no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GB" sz="2100" b="0" i="0" u="none" strike="noStrike" kern="1200" cap="none" spc="0" normalizeH="0" baseline="0" noProof="0" dirty="0">
                <a:ln>
                  <a:noFill/>
                </a:ln>
                <a:solidFill>
                  <a:sysClr val="windowText" lastClr="000000"/>
                </a:solidFill>
                <a:effectLst/>
                <a:uLnTx/>
                <a:uFillTx/>
                <a:latin typeface="Calibri"/>
                <a:ea typeface="+mj-ea"/>
                <a:cs typeface="Calibri Light" panose="020F0302020204030204" pitchFamily="34" charset="0"/>
              </a:rPr>
              <a:t>Executive summary</a:t>
            </a:r>
          </a:p>
        </p:txBody>
      </p:sp>
      <p:sp>
        <p:nvSpPr>
          <p:cNvPr id="4" name="Content Placeholder 3">
            <a:extLst>
              <a:ext uri="{FF2B5EF4-FFF2-40B4-BE49-F238E27FC236}">
                <a16:creationId xmlns:a16="http://schemas.microsoft.com/office/drawing/2014/main" id="{A2A2702F-6DD1-D70E-86F4-FF8EC0B2160F}"/>
              </a:ext>
            </a:extLst>
          </p:cNvPr>
          <p:cNvSpPr txBox="1">
            <a:spLocks/>
          </p:cNvSpPr>
          <p:nvPr/>
        </p:nvSpPr>
        <p:spPr>
          <a:xfrm>
            <a:off x="941544" y="1691625"/>
            <a:ext cx="1863725" cy="539496"/>
          </a:xfrm>
          <a:prstGeom prst="rect">
            <a:avLst/>
          </a:prstGeom>
          <a:noFill/>
          <a:ln w="19050">
            <a:noFill/>
          </a:ln>
        </p:spPr>
        <p:txBody>
          <a:bodyPr vert="horz" wrap="square" lIns="0" tIns="0" rIns="0" bIns="0" rtlCol="0" anchor="t">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Identify the contract(s) with a customer </a:t>
            </a:r>
          </a:p>
        </p:txBody>
      </p:sp>
      <p:sp>
        <p:nvSpPr>
          <p:cNvPr id="5" name="Content Placeholder 3">
            <a:extLst>
              <a:ext uri="{FF2B5EF4-FFF2-40B4-BE49-F238E27FC236}">
                <a16:creationId xmlns:a16="http://schemas.microsoft.com/office/drawing/2014/main" id="{A0C7C06A-B801-8B16-323B-B9E93C4B3438}"/>
              </a:ext>
            </a:extLst>
          </p:cNvPr>
          <p:cNvSpPr txBox="1">
            <a:spLocks/>
          </p:cNvSpPr>
          <p:nvPr/>
        </p:nvSpPr>
        <p:spPr>
          <a:xfrm>
            <a:off x="3016494" y="1691625"/>
            <a:ext cx="1978696" cy="539496"/>
          </a:xfrm>
          <a:prstGeom prst="rect">
            <a:avLst/>
          </a:prstGeom>
          <a:noFill/>
          <a:ln w="19050">
            <a:noFill/>
          </a:ln>
        </p:spPr>
        <p:txBody>
          <a:bodyPr vert="horz" wrap="square" lIns="0" tIns="0" rIns="0" bIns="0" rtlCol="0" anchor="t">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Identify the performance obligations (PO’s) in the contract</a:t>
            </a:r>
          </a:p>
        </p:txBody>
      </p:sp>
      <p:sp>
        <p:nvSpPr>
          <p:cNvPr id="6" name="Content Placeholder 3">
            <a:extLst>
              <a:ext uri="{FF2B5EF4-FFF2-40B4-BE49-F238E27FC236}">
                <a16:creationId xmlns:a16="http://schemas.microsoft.com/office/drawing/2014/main" id="{0836DAC1-CA35-54B8-17A2-AE3BBBEDC2B0}"/>
              </a:ext>
            </a:extLst>
          </p:cNvPr>
          <p:cNvSpPr txBox="1">
            <a:spLocks/>
          </p:cNvSpPr>
          <p:nvPr/>
        </p:nvSpPr>
        <p:spPr>
          <a:xfrm>
            <a:off x="5225086" y="1679875"/>
            <a:ext cx="1863725" cy="539496"/>
          </a:xfrm>
          <a:prstGeom prst="rect">
            <a:avLst/>
          </a:prstGeom>
          <a:noFill/>
          <a:ln w="19050">
            <a:noFill/>
          </a:ln>
        </p:spPr>
        <p:txBody>
          <a:bodyPr vert="horz" wrap="square" lIns="0" tIns="0" rIns="0" bIns="0" rtlCol="0" anchor="t">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Determine the</a:t>
            </a:r>
            <a:br>
              <a:rPr kumimoji="0" lang="en-GB" sz="1200" b="0"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br>
            <a:r>
              <a:rPr kumimoji="0" lang="en-GB" sz="1200" b="0"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transaction price </a:t>
            </a:r>
          </a:p>
        </p:txBody>
      </p:sp>
      <p:sp>
        <p:nvSpPr>
          <p:cNvPr id="7" name="Content Placeholder 3">
            <a:extLst>
              <a:ext uri="{FF2B5EF4-FFF2-40B4-BE49-F238E27FC236}">
                <a16:creationId xmlns:a16="http://schemas.microsoft.com/office/drawing/2014/main" id="{241CD190-4F41-1835-628F-4A2447FC65D8}"/>
              </a:ext>
            </a:extLst>
          </p:cNvPr>
          <p:cNvSpPr txBox="1">
            <a:spLocks/>
          </p:cNvSpPr>
          <p:nvPr/>
        </p:nvSpPr>
        <p:spPr>
          <a:xfrm>
            <a:off x="6988858" y="1679875"/>
            <a:ext cx="1899556" cy="539496"/>
          </a:xfrm>
          <a:prstGeom prst="rect">
            <a:avLst/>
          </a:prstGeom>
          <a:noFill/>
          <a:ln w="19050">
            <a:noFill/>
          </a:ln>
        </p:spPr>
        <p:txBody>
          <a:bodyPr vert="horz" wrap="square" lIns="0" tIns="0" rIns="0" bIns="0" rtlCol="0" anchor="t">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Allocate the transaction price to performance obligations</a:t>
            </a:r>
          </a:p>
        </p:txBody>
      </p:sp>
      <p:sp>
        <p:nvSpPr>
          <p:cNvPr id="8" name="Content Placeholder 3">
            <a:extLst>
              <a:ext uri="{FF2B5EF4-FFF2-40B4-BE49-F238E27FC236}">
                <a16:creationId xmlns:a16="http://schemas.microsoft.com/office/drawing/2014/main" id="{A6C3E71C-8B51-96BA-A6BD-0320649E521B}"/>
              </a:ext>
            </a:extLst>
          </p:cNvPr>
          <p:cNvSpPr txBox="1">
            <a:spLocks/>
          </p:cNvSpPr>
          <p:nvPr/>
        </p:nvSpPr>
        <p:spPr>
          <a:xfrm>
            <a:off x="9082758" y="1721548"/>
            <a:ext cx="2554070" cy="622082"/>
          </a:xfrm>
          <a:prstGeom prst="rect">
            <a:avLst/>
          </a:prstGeom>
          <a:noFill/>
          <a:ln w="19050">
            <a:noFill/>
          </a:ln>
        </p:spPr>
        <p:txBody>
          <a:bodyPr vert="horz" wrap="square" lIns="0" tIns="0" rIns="0" bIns="0" rtlCol="0" anchor="t">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Recognise revenue when (or as) the entity satisfies a performance obligation </a:t>
            </a:r>
          </a:p>
        </p:txBody>
      </p:sp>
      <p:sp>
        <p:nvSpPr>
          <p:cNvPr id="9" name="Content Placeholder 3">
            <a:extLst>
              <a:ext uri="{FF2B5EF4-FFF2-40B4-BE49-F238E27FC236}">
                <a16:creationId xmlns:a16="http://schemas.microsoft.com/office/drawing/2014/main" id="{9D79F2CC-5C34-2383-6D58-EB4729A63971}"/>
              </a:ext>
            </a:extLst>
          </p:cNvPr>
          <p:cNvSpPr txBox="1">
            <a:spLocks/>
          </p:cNvSpPr>
          <p:nvPr/>
        </p:nvSpPr>
        <p:spPr>
          <a:xfrm>
            <a:off x="941544" y="1188934"/>
            <a:ext cx="1863725" cy="218417"/>
          </a:xfrm>
          <a:prstGeom prst="rect">
            <a:avLst/>
          </a:prstGeom>
          <a:noFill/>
          <a:ln w="19050">
            <a:noFill/>
          </a:ln>
        </p:spPr>
        <p:txBody>
          <a:bodyPr vert="horz" wrap="square" lIns="0" tIns="0" rIns="0" bIns="0" rtlCol="0" anchor="ctr">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GB" sz="1200" b="1"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STEP 01</a:t>
            </a:r>
          </a:p>
        </p:txBody>
      </p:sp>
      <p:sp>
        <p:nvSpPr>
          <p:cNvPr id="10" name="Content Placeholder 3">
            <a:extLst>
              <a:ext uri="{FF2B5EF4-FFF2-40B4-BE49-F238E27FC236}">
                <a16:creationId xmlns:a16="http://schemas.microsoft.com/office/drawing/2014/main" id="{3FE29049-93B4-39EE-1E6A-C51BB1528E76}"/>
              </a:ext>
            </a:extLst>
          </p:cNvPr>
          <p:cNvSpPr txBox="1">
            <a:spLocks/>
          </p:cNvSpPr>
          <p:nvPr/>
        </p:nvSpPr>
        <p:spPr>
          <a:xfrm>
            <a:off x="3101464" y="1189097"/>
            <a:ext cx="1899556" cy="218417"/>
          </a:xfrm>
          <a:prstGeom prst="rect">
            <a:avLst/>
          </a:prstGeom>
          <a:noFill/>
          <a:ln w="19050">
            <a:noFill/>
          </a:ln>
        </p:spPr>
        <p:txBody>
          <a:bodyPr vert="horz" wrap="square" lIns="0" tIns="0" rIns="0" bIns="0" rtlCol="0" anchor="ctr">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GB" sz="1200" b="1"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STEP 02</a:t>
            </a:r>
          </a:p>
        </p:txBody>
      </p:sp>
      <p:sp>
        <p:nvSpPr>
          <p:cNvPr id="11" name="Content Placeholder 3">
            <a:extLst>
              <a:ext uri="{FF2B5EF4-FFF2-40B4-BE49-F238E27FC236}">
                <a16:creationId xmlns:a16="http://schemas.microsoft.com/office/drawing/2014/main" id="{068548CD-7446-9620-3D73-7EA3DB42810B}"/>
              </a:ext>
            </a:extLst>
          </p:cNvPr>
          <p:cNvSpPr txBox="1">
            <a:spLocks/>
          </p:cNvSpPr>
          <p:nvPr/>
        </p:nvSpPr>
        <p:spPr>
          <a:xfrm>
            <a:off x="5189255" y="1177184"/>
            <a:ext cx="1899556" cy="218417"/>
          </a:xfrm>
          <a:prstGeom prst="rect">
            <a:avLst/>
          </a:prstGeom>
          <a:noFill/>
          <a:ln w="19050">
            <a:noFill/>
          </a:ln>
        </p:spPr>
        <p:txBody>
          <a:bodyPr vert="horz" wrap="square" lIns="0" tIns="0" rIns="0" bIns="0" rtlCol="0" anchor="ctr">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GB" sz="1200" b="1"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STEP 03</a:t>
            </a:r>
          </a:p>
        </p:txBody>
      </p:sp>
      <p:sp>
        <p:nvSpPr>
          <p:cNvPr id="12" name="Content Placeholder 3">
            <a:extLst>
              <a:ext uri="{FF2B5EF4-FFF2-40B4-BE49-F238E27FC236}">
                <a16:creationId xmlns:a16="http://schemas.microsoft.com/office/drawing/2014/main" id="{CB0242CF-D5D7-57BC-9208-37881FD949F2}"/>
              </a:ext>
            </a:extLst>
          </p:cNvPr>
          <p:cNvSpPr txBox="1">
            <a:spLocks/>
          </p:cNvSpPr>
          <p:nvPr/>
        </p:nvSpPr>
        <p:spPr>
          <a:xfrm>
            <a:off x="7183202" y="1177184"/>
            <a:ext cx="1899556" cy="218417"/>
          </a:xfrm>
          <a:prstGeom prst="rect">
            <a:avLst/>
          </a:prstGeom>
          <a:noFill/>
          <a:ln w="19050">
            <a:noFill/>
          </a:ln>
        </p:spPr>
        <p:txBody>
          <a:bodyPr vert="horz" wrap="square" lIns="0" tIns="0" rIns="0" bIns="0" rtlCol="0" anchor="ctr">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GB" sz="1200" b="1"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STEP 04</a:t>
            </a:r>
          </a:p>
        </p:txBody>
      </p:sp>
      <p:sp>
        <p:nvSpPr>
          <p:cNvPr id="13" name="Content Placeholder 3">
            <a:extLst>
              <a:ext uri="{FF2B5EF4-FFF2-40B4-BE49-F238E27FC236}">
                <a16:creationId xmlns:a16="http://schemas.microsoft.com/office/drawing/2014/main" id="{02835D12-E31E-71F0-9027-ACC3EAA04C3E}"/>
              </a:ext>
            </a:extLst>
          </p:cNvPr>
          <p:cNvSpPr txBox="1">
            <a:spLocks/>
          </p:cNvSpPr>
          <p:nvPr/>
        </p:nvSpPr>
        <p:spPr>
          <a:xfrm>
            <a:off x="9438348" y="1177183"/>
            <a:ext cx="1899556" cy="218417"/>
          </a:xfrm>
          <a:prstGeom prst="rect">
            <a:avLst/>
          </a:prstGeom>
          <a:noFill/>
          <a:ln w="19050">
            <a:noFill/>
          </a:ln>
        </p:spPr>
        <p:txBody>
          <a:bodyPr vert="horz" wrap="square" lIns="0" tIns="0" rIns="0" bIns="0" rtlCol="0" anchor="ctr">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GB" sz="1200" b="1"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STEP 05</a:t>
            </a:r>
          </a:p>
        </p:txBody>
      </p:sp>
      <p:sp>
        <p:nvSpPr>
          <p:cNvPr id="14" name="Rectangle 83">
            <a:extLst>
              <a:ext uri="{FF2B5EF4-FFF2-40B4-BE49-F238E27FC236}">
                <a16:creationId xmlns:a16="http://schemas.microsoft.com/office/drawing/2014/main" id="{7BAD506E-5746-6F88-25F1-62358AFFC6D1}"/>
              </a:ext>
            </a:extLst>
          </p:cNvPr>
          <p:cNvSpPr/>
          <p:nvPr/>
        </p:nvSpPr>
        <p:spPr bwMode="gray">
          <a:xfrm>
            <a:off x="941545" y="1419101"/>
            <a:ext cx="1687286" cy="218416"/>
          </a:xfrm>
          <a:custGeom>
            <a:avLst/>
            <a:gdLst>
              <a:gd name="connsiteX0" fmla="*/ 0 w 651061"/>
              <a:gd name="connsiteY0" fmla="*/ 0 h 183550"/>
              <a:gd name="connsiteX1" fmla="*/ 651061 w 651061"/>
              <a:gd name="connsiteY1" fmla="*/ 0 h 183550"/>
              <a:gd name="connsiteX2" fmla="*/ 651061 w 651061"/>
              <a:gd name="connsiteY2" fmla="*/ 183550 h 183550"/>
              <a:gd name="connsiteX3" fmla="*/ 0 w 651061"/>
              <a:gd name="connsiteY3" fmla="*/ 183550 h 183550"/>
              <a:gd name="connsiteX4" fmla="*/ 0 w 651061"/>
              <a:gd name="connsiteY4" fmla="*/ 0 h 183550"/>
              <a:gd name="connsiteX0" fmla="*/ 0 w 651061"/>
              <a:gd name="connsiteY0" fmla="*/ 0 h 183550"/>
              <a:gd name="connsiteX1" fmla="*/ 651061 w 651061"/>
              <a:gd name="connsiteY1" fmla="*/ 5715 h 183550"/>
              <a:gd name="connsiteX2" fmla="*/ 651061 w 651061"/>
              <a:gd name="connsiteY2" fmla="*/ 183550 h 183550"/>
              <a:gd name="connsiteX3" fmla="*/ 0 w 651061"/>
              <a:gd name="connsiteY3" fmla="*/ 183550 h 183550"/>
              <a:gd name="connsiteX4" fmla="*/ 0 w 651061"/>
              <a:gd name="connsiteY4" fmla="*/ 0 h 183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061" h="183550">
                <a:moveTo>
                  <a:pt x="0" y="0"/>
                </a:moveTo>
                <a:lnTo>
                  <a:pt x="651061" y="5715"/>
                </a:lnTo>
                <a:lnTo>
                  <a:pt x="651061" y="183550"/>
                </a:lnTo>
                <a:lnTo>
                  <a:pt x="0" y="183550"/>
                </a:lnTo>
                <a:lnTo>
                  <a:pt x="0" y="0"/>
                </a:lnTo>
                <a:close/>
              </a:path>
            </a:pathLst>
          </a:custGeom>
          <a:solidFill>
            <a:srgbClr val="00D63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5" name="Rectangle 83">
            <a:extLst>
              <a:ext uri="{FF2B5EF4-FFF2-40B4-BE49-F238E27FC236}">
                <a16:creationId xmlns:a16="http://schemas.microsoft.com/office/drawing/2014/main" id="{EDD270B3-E251-E0A3-FB14-F3EDB95462DE}"/>
              </a:ext>
            </a:extLst>
          </p:cNvPr>
          <p:cNvSpPr/>
          <p:nvPr/>
        </p:nvSpPr>
        <p:spPr bwMode="gray">
          <a:xfrm>
            <a:off x="3002457" y="1416764"/>
            <a:ext cx="1871164" cy="218089"/>
          </a:xfrm>
          <a:custGeom>
            <a:avLst/>
            <a:gdLst>
              <a:gd name="connsiteX0" fmla="*/ 0 w 651061"/>
              <a:gd name="connsiteY0" fmla="*/ 0 h 183550"/>
              <a:gd name="connsiteX1" fmla="*/ 651061 w 651061"/>
              <a:gd name="connsiteY1" fmla="*/ 0 h 183550"/>
              <a:gd name="connsiteX2" fmla="*/ 651061 w 651061"/>
              <a:gd name="connsiteY2" fmla="*/ 183550 h 183550"/>
              <a:gd name="connsiteX3" fmla="*/ 0 w 651061"/>
              <a:gd name="connsiteY3" fmla="*/ 183550 h 183550"/>
              <a:gd name="connsiteX4" fmla="*/ 0 w 651061"/>
              <a:gd name="connsiteY4" fmla="*/ 0 h 183550"/>
              <a:gd name="connsiteX0" fmla="*/ 0 w 651061"/>
              <a:gd name="connsiteY0" fmla="*/ 0 h 183550"/>
              <a:gd name="connsiteX1" fmla="*/ 651061 w 651061"/>
              <a:gd name="connsiteY1" fmla="*/ 5715 h 183550"/>
              <a:gd name="connsiteX2" fmla="*/ 651061 w 651061"/>
              <a:gd name="connsiteY2" fmla="*/ 183550 h 183550"/>
              <a:gd name="connsiteX3" fmla="*/ 0 w 651061"/>
              <a:gd name="connsiteY3" fmla="*/ 183550 h 183550"/>
              <a:gd name="connsiteX4" fmla="*/ 0 w 651061"/>
              <a:gd name="connsiteY4" fmla="*/ 0 h 183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061" h="183550">
                <a:moveTo>
                  <a:pt x="0" y="0"/>
                </a:moveTo>
                <a:lnTo>
                  <a:pt x="651061" y="5715"/>
                </a:lnTo>
                <a:lnTo>
                  <a:pt x="651061" y="183550"/>
                </a:lnTo>
                <a:lnTo>
                  <a:pt x="0" y="183550"/>
                </a:lnTo>
                <a:lnTo>
                  <a:pt x="0" y="0"/>
                </a:lnTo>
                <a:close/>
              </a:path>
            </a:pathLst>
          </a:custGeom>
          <a:solidFill>
            <a:srgbClr val="00D63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6" name="Rectangle 83">
            <a:extLst>
              <a:ext uri="{FF2B5EF4-FFF2-40B4-BE49-F238E27FC236}">
                <a16:creationId xmlns:a16="http://schemas.microsoft.com/office/drawing/2014/main" id="{525391BB-C6BF-834B-C679-1BE6F7026F0F}"/>
              </a:ext>
            </a:extLst>
          </p:cNvPr>
          <p:cNvSpPr/>
          <p:nvPr/>
        </p:nvSpPr>
        <p:spPr bwMode="gray">
          <a:xfrm>
            <a:off x="5189255" y="1407350"/>
            <a:ext cx="1582976" cy="218253"/>
          </a:xfrm>
          <a:custGeom>
            <a:avLst/>
            <a:gdLst>
              <a:gd name="connsiteX0" fmla="*/ 0 w 651061"/>
              <a:gd name="connsiteY0" fmla="*/ 0 h 183550"/>
              <a:gd name="connsiteX1" fmla="*/ 651061 w 651061"/>
              <a:gd name="connsiteY1" fmla="*/ 0 h 183550"/>
              <a:gd name="connsiteX2" fmla="*/ 651061 w 651061"/>
              <a:gd name="connsiteY2" fmla="*/ 183550 h 183550"/>
              <a:gd name="connsiteX3" fmla="*/ 0 w 651061"/>
              <a:gd name="connsiteY3" fmla="*/ 183550 h 183550"/>
              <a:gd name="connsiteX4" fmla="*/ 0 w 651061"/>
              <a:gd name="connsiteY4" fmla="*/ 0 h 183550"/>
              <a:gd name="connsiteX0" fmla="*/ 0 w 651061"/>
              <a:gd name="connsiteY0" fmla="*/ 0 h 183550"/>
              <a:gd name="connsiteX1" fmla="*/ 651061 w 651061"/>
              <a:gd name="connsiteY1" fmla="*/ 5715 h 183550"/>
              <a:gd name="connsiteX2" fmla="*/ 651061 w 651061"/>
              <a:gd name="connsiteY2" fmla="*/ 183550 h 183550"/>
              <a:gd name="connsiteX3" fmla="*/ 0 w 651061"/>
              <a:gd name="connsiteY3" fmla="*/ 183550 h 183550"/>
              <a:gd name="connsiteX4" fmla="*/ 0 w 651061"/>
              <a:gd name="connsiteY4" fmla="*/ 0 h 183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061" h="183550">
                <a:moveTo>
                  <a:pt x="0" y="0"/>
                </a:moveTo>
                <a:lnTo>
                  <a:pt x="651061" y="5715"/>
                </a:lnTo>
                <a:lnTo>
                  <a:pt x="651061" y="183550"/>
                </a:lnTo>
                <a:lnTo>
                  <a:pt x="0" y="183550"/>
                </a:lnTo>
                <a:lnTo>
                  <a:pt x="0" y="0"/>
                </a:lnTo>
                <a:close/>
              </a:path>
            </a:pathLst>
          </a:custGeom>
          <a:solidFill>
            <a:srgbClr val="00D63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7" name="Rectangle 83">
            <a:extLst>
              <a:ext uri="{FF2B5EF4-FFF2-40B4-BE49-F238E27FC236}">
                <a16:creationId xmlns:a16="http://schemas.microsoft.com/office/drawing/2014/main" id="{0E4604E0-228E-EC3A-75E8-635075AADF28}"/>
              </a:ext>
            </a:extLst>
          </p:cNvPr>
          <p:cNvSpPr/>
          <p:nvPr/>
        </p:nvSpPr>
        <p:spPr bwMode="gray">
          <a:xfrm>
            <a:off x="6988858" y="1407351"/>
            <a:ext cx="1774142" cy="218416"/>
          </a:xfrm>
          <a:custGeom>
            <a:avLst/>
            <a:gdLst>
              <a:gd name="connsiteX0" fmla="*/ 0 w 651061"/>
              <a:gd name="connsiteY0" fmla="*/ 0 h 183550"/>
              <a:gd name="connsiteX1" fmla="*/ 651061 w 651061"/>
              <a:gd name="connsiteY1" fmla="*/ 0 h 183550"/>
              <a:gd name="connsiteX2" fmla="*/ 651061 w 651061"/>
              <a:gd name="connsiteY2" fmla="*/ 183550 h 183550"/>
              <a:gd name="connsiteX3" fmla="*/ 0 w 651061"/>
              <a:gd name="connsiteY3" fmla="*/ 183550 h 183550"/>
              <a:gd name="connsiteX4" fmla="*/ 0 w 651061"/>
              <a:gd name="connsiteY4" fmla="*/ 0 h 183550"/>
              <a:gd name="connsiteX0" fmla="*/ 0 w 651061"/>
              <a:gd name="connsiteY0" fmla="*/ 0 h 183550"/>
              <a:gd name="connsiteX1" fmla="*/ 651061 w 651061"/>
              <a:gd name="connsiteY1" fmla="*/ 5715 h 183550"/>
              <a:gd name="connsiteX2" fmla="*/ 651061 w 651061"/>
              <a:gd name="connsiteY2" fmla="*/ 183550 h 183550"/>
              <a:gd name="connsiteX3" fmla="*/ 0 w 651061"/>
              <a:gd name="connsiteY3" fmla="*/ 183550 h 183550"/>
              <a:gd name="connsiteX4" fmla="*/ 0 w 651061"/>
              <a:gd name="connsiteY4" fmla="*/ 0 h 183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061" h="183550">
                <a:moveTo>
                  <a:pt x="0" y="0"/>
                </a:moveTo>
                <a:lnTo>
                  <a:pt x="651061" y="5715"/>
                </a:lnTo>
                <a:lnTo>
                  <a:pt x="651061" y="183550"/>
                </a:lnTo>
                <a:lnTo>
                  <a:pt x="0" y="183550"/>
                </a:lnTo>
                <a:lnTo>
                  <a:pt x="0" y="0"/>
                </a:lnTo>
                <a:close/>
              </a:path>
            </a:pathLst>
          </a:custGeom>
          <a:solidFill>
            <a:srgbClr val="00D63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8" name="Rectangle 83">
            <a:extLst>
              <a:ext uri="{FF2B5EF4-FFF2-40B4-BE49-F238E27FC236}">
                <a16:creationId xmlns:a16="http://schemas.microsoft.com/office/drawing/2014/main" id="{08A616B7-C886-B2E4-D0E2-317E914CC49C}"/>
              </a:ext>
            </a:extLst>
          </p:cNvPr>
          <p:cNvSpPr/>
          <p:nvPr/>
        </p:nvSpPr>
        <p:spPr bwMode="gray">
          <a:xfrm>
            <a:off x="9017021" y="1416437"/>
            <a:ext cx="2619807" cy="218416"/>
          </a:xfrm>
          <a:custGeom>
            <a:avLst/>
            <a:gdLst>
              <a:gd name="connsiteX0" fmla="*/ 0 w 651061"/>
              <a:gd name="connsiteY0" fmla="*/ 0 h 183550"/>
              <a:gd name="connsiteX1" fmla="*/ 651061 w 651061"/>
              <a:gd name="connsiteY1" fmla="*/ 0 h 183550"/>
              <a:gd name="connsiteX2" fmla="*/ 651061 w 651061"/>
              <a:gd name="connsiteY2" fmla="*/ 183550 h 183550"/>
              <a:gd name="connsiteX3" fmla="*/ 0 w 651061"/>
              <a:gd name="connsiteY3" fmla="*/ 183550 h 183550"/>
              <a:gd name="connsiteX4" fmla="*/ 0 w 651061"/>
              <a:gd name="connsiteY4" fmla="*/ 0 h 183550"/>
              <a:gd name="connsiteX0" fmla="*/ 0 w 651061"/>
              <a:gd name="connsiteY0" fmla="*/ 0 h 183550"/>
              <a:gd name="connsiteX1" fmla="*/ 651061 w 651061"/>
              <a:gd name="connsiteY1" fmla="*/ 5715 h 183550"/>
              <a:gd name="connsiteX2" fmla="*/ 651061 w 651061"/>
              <a:gd name="connsiteY2" fmla="*/ 183550 h 183550"/>
              <a:gd name="connsiteX3" fmla="*/ 0 w 651061"/>
              <a:gd name="connsiteY3" fmla="*/ 183550 h 183550"/>
              <a:gd name="connsiteX4" fmla="*/ 0 w 651061"/>
              <a:gd name="connsiteY4" fmla="*/ 0 h 183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061" h="183550">
                <a:moveTo>
                  <a:pt x="0" y="0"/>
                </a:moveTo>
                <a:lnTo>
                  <a:pt x="651061" y="5715"/>
                </a:lnTo>
                <a:lnTo>
                  <a:pt x="651061" y="183550"/>
                </a:lnTo>
                <a:lnTo>
                  <a:pt x="0" y="183550"/>
                </a:lnTo>
                <a:lnTo>
                  <a:pt x="0" y="0"/>
                </a:lnTo>
                <a:close/>
              </a:path>
            </a:pathLst>
          </a:custGeom>
          <a:solidFill>
            <a:srgbClr val="00D63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aphicFrame>
        <p:nvGraphicFramePr>
          <p:cNvPr id="19" name="Table 18">
            <a:extLst>
              <a:ext uri="{FF2B5EF4-FFF2-40B4-BE49-F238E27FC236}">
                <a16:creationId xmlns:a16="http://schemas.microsoft.com/office/drawing/2014/main" id="{F3003BC4-E3EC-DC0E-9A22-104971A5127C}"/>
              </a:ext>
            </a:extLst>
          </p:cNvPr>
          <p:cNvGraphicFramePr>
            <a:graphicFrameLocks noGrp="1"/>
          </p:cNvGraphicFramePr>
          <p:nvPr/>
        </p:nvGraphicFramePr>
        <p:xfrm>
          <a:off x="2917280" y="2419386"/>
          <a:ext cx="2202763" cy="622083"/>
        </p:xfrm>
        <a:graphic>
          <a:graphicData uri="http://schemas.openxmlformats.org/drawingml/2006/table">
            <a:tbl>
              <a:tblPr firstRow="1" bandRow="1">
                <a:tableStyleId>{2D5ABB26-0587-4C30-8999-92F81FD0307C}</a:tableStyleId>
              </a:tblPr>
              <a:tblGrid>
                <a:gridCol w="2202763">
                  <a:extLst>
                    <a:ext uri="{9D8B030D-6E8A-4147-A177-3AD203B41FA5}">
                      <a16:colId xmlns:a16="http://schemas.microsoft.com/office/drawing/2014/main" val="1126295487"/>
                    </a:ext>
                  </a:extLst>
                </a:gridCol>
              </a:tblGrid>
              <a:tr h="622083">
                <a:tc>
                  <a:txBody>
                    <a:bodyPr/>
                    <a:lstStyle/>
                    <a:p>
                      <a:pPr marL="171450" indent="-171450">
                        <a:buFont typeface="Arial" panose="020B0604020202020204" pitchFamily="34" charset="0"/>
                        <a:buChar char="•"/>
                      </a:pPr>
                      <a:r>
                        <a:rPr lang="en-US" sz="1000" b="0" kern="1200" dirty="0">
                          <a:solidFill>
                            <a:schemeClr val="tx1"/>
                          </a:solidFill>
                          <a:latin typeface="+mn-lt"/>
                          <a:ea typeface="Open Sans SemiBold" panose="020B0706030804020204" pitchFamily="34" charset="0"/>
                          <a:cs typeface="Calibri Light" panose="020F0302020204030204" pitchFamily="34" charset="0"/>
                        </a:rPr>
                        <a:t>Ongoing managed services</a:t>
                      </a:r>
                    </a:p>
                    <a:p>
                      <a:pPr marL="171450" indent="-171450">
                        <a:buFont typeface="Arial" panose="020B0604020202020204" pitchFamily="34" charset="0"/>
                        <a:buChar char="•"/>
                      </a:pPr>
                      <a:r>
                        <a:rPr lang="en-US" sz="1000" b="0" kern="1200" dirty="0">
                          <a:solidFill>
                            <a:schemeClr val="tx1"/>
                          </a:solidFill>
                          <a:latin typeface="+mn-lt"/>
                          <a:ea typeface="Open Sans SemiBold" panose="020B0706030804020204" pitchFamily="34" charset="0"/>
                          <a:cs typeface="Calibri Light" panose="020F0302020204030204" pitchFamily="34" charset="0"/>
                        </a:rPr>
                        <a:t>Mobile phone contract</a:t>
                      </a:r>
                      <a:endParaRPr lang="en-GB" sz="1000" b="0" kern="1200" dirty="0">
                        <a:solidFill>
                          <a:schemeClr val="tx1"/>
                        </a:solidFill>
                        <a:latin typeface="+mn-lt"/>
                        <a:ea typeface="Open Sans SemiBold" panose="020B0706030804020204" pitchFamily="34" charset="0"/>
                        <a:cs typeface="Calibri Light" panose="020F0302020204030204" pitchFamily="34" charset="0"/>
                      </a:endParaRPr>
                    </a:p>
                  </a:txBody>
                  <a:tcPr/>
                </a:tc>
                <a:extLst>
                  <a:ext uri="{0D108BD9-81ED-4DB2-BD59-A6C34878D82A}">
                    <a16:rowId xmlns:a16="http://schemas.microsoft.com/office/drawing/2014/main" val="3522333757"/>
                  </a:ext>
                </a:extLst>
              </a:tr>
            </a:tbl>
          </a:graphicData>
        </a:graphic>
      </p:graphicFrame>
      <p:graphicFrame>
        <p:nvGraphicFramePr>
          <p:cNvPr id="20" name="Table 19">
            <a:extLst>
              <a:ext uri="{FF2B5EF4-FFF2-40B4-BE49-F238E27FC236}">
                <a16:creationId xmlns:a16="http://schemas.microsoft.com/office/drawing/2014/main" id="{D24AD9AD-23AA-BDB5-0C51-0F1595880FD5}"/>
              </a:ext>
            </a:extLst>
          </p:cNvPr>
          <p:cNvGraphicFramePr>
            <a:graphicFrameLocks noGrp="1"/>
          </p:cNvGraphicFramePr>
          <p:nvPr/>
        </p:nvGraphicFramePr>
        <p:xfrm>
          <a:off x="9017021" y="2430325"/>
          <a:ext cx="2443883" cy="622082"/>
        </p:xfrm>
        <a:graphic>
          <a:graphicData uri="http://schemas.openxmlformats.org/drawingml/2006/table">
            <a:tbl>
              <a:tblPr firstRow="1" bandRow="1">
                <a:tableStyleId>{2D5ABB26-0587-4C30-8999-92F81FD0307C}</a:tableStyleId>
              </a:tblPr>
              <a:tblGrid>
                <a:gridCol w="2443883">
                  <a:extLst>
                    <a:ext uri="{9D8B030D-6E8A-4147-A177-3AD203B41FA5}">
                      <a16:colId xmlns:a16="http://schemas.microsoft.com/office/drawing/2014/main" val="1126295487"/>
                    </a:ext>
                  </a:extLst>
                </a:gridCol>
              </a:tblGrid>
              <a:tr h="622082">
                <a:tc>
                  <a:txBody>
                    <a:bodyPr/>
                    <a:lstStyle/>
                    <a:p>
                      <a:pPr marL="0" indent="0">
                        <a:buFont typeface="Arial" panose="020B0604020202020204" pitchFamily="34" charset="0"/>
                        <a:buNone/>
                      </a:pPr>
                      <a:r>
                        <a:rPr lang="en-US" sz="1000" b="1" kern="1200" dirty="0">
                          <a:solidFill>
                            <a:schemeClr val="tx1"/>
                          </a:solidFill>
                          <a:latin typeface="+mn-lt"/>
                          <a:ea typeface="Open Sans SemiBold" panose="020B0706030804020204" pitchFamily="34" charset="0"/>
                          <a:cs typeface="Calibri Light" panose="020F0302020204030204" pitchFamily="34" charset="0"/>
                        </a:rPr>
                        <a:t>Over the period of time (Contract term)</a:t>
                      </a:r>
                    </a:p>
                    <a:p>
                      <a:pPr marL="285750" indent="-285750">
                        <a:buFont typeface="Arial" panose="020B0604020202020204" pitchFamily="34" charset="0"/>
                        <a:buChar char="•"/>
                      </a:pPr>
                      <a:r>
                        <a:rPr lang="en-US" sz="1000" b="0" kern="1200" dirty="0">
                          <a:solidFill>
                            <a:schemeClr val="tx1"/>
                          </a:solidFill>
                          <a:latin typeface="+mn-lt"/>
                          <a:ea typeface="Open Sans SemiBold" panose="020B0706030804020204" pitchFamily="34" charset="0"/>
                          <a:cs typeface="Calibri Light" panose="020F0302020204030204" pitchFamily="34" charset="0"/>
                        </a:rPr>
                        <a:t>Ongoing managed services </a:t>
                      </a:r>
                    </a:p>
                    <a:p>
                      <a:pPr marL="285750" indent="-285750">
                        <a:buFont typeface="Arial" panose="020B0604020202020204" pitchFamily="34" charset="0"/>
                        <a:buChar char="•"/>
                      </a:pPr>
                      <a:r>
                        <a:rPr lang="en-US" sz="1000" b="0" kern="1200" dirty="0">
                          <a:solidFill>
                            <a:schemeClr val="tx1"/>
                          </a:solidFill>
                          <a:latin typeface="+mn-lt"/>
                          <a:ea typeface="Open Sans SemiBold" panose="020B0706030804020204" pitchFamily="34" charset="0"/>
                          <a:cs typeface="Calibri Light" panose="020F0302020204030204" pitchFamily="34" charset="0"/>
                        </a:rPr>
                        <a:t>Mobile phone contract</a:t>
                      </a:r>
                    </a:p>
                  </a:txBody>
                  <a:tcPr/>
                </a:tc>
                <a:extLst>
                  <a:ext uri="{0D108BD9-81ED-4DB2-BD59-A6C34878D82A}">
                    <a16:rowId xmlns:a16="http://schemas.microsoft.com/office/drawing/2014/main" val="3522333757"/>
                  </a:ext>
                </a:extLst>
              </a:tr>
            </a:tbl>
          </a:graphicData>
        </a:graphic>
      </p:graphicFrame>
      <p:graphicFrame>
        <p:nvGraphicFramePr>
          <p:cNvPr id="22" name="Table 21">
            <a:extLst>
              <a:ext uri="{FF2B5EF4-FFF2-40B4-BE49-F238E27FC236}">
                <a16:creationId xmlns:a16="http://schemas.microsoft.com/office/drawing/2014/main" id="{15491F5C-77AD-FDF8-7E76-9C59CD81C4E4}"/>
              </a:ext>
            </a:extLst>
          </p:cNvPr>
          <p:cNvGraphicFramePr>
            <a:graphicFrameLocks noGrp="1"/>
          </p:cNvGraphicFramePr>
          <p:nvPr/>
        </p:nvGraphicFramePr>
        <p:xfrm>
          <a:off x="5152195" y="2397706"/>
          <a:ext cx="1732172" cy="893724"/>
        </p:xfrm>
        <a:graphic>
          <a:graphicData uri="http://schemas.openxmlformats.org/drawingml/2006/table">
            <a:tbl>
              <a:tblPr firstRow="1" bandRow="1">
                <a:tableStyleId>{2D5ABB26-0587-4C30-8999-92F81FD0307C}</a:tableStyleId>
              </a:tblPr>
              <a:tblGrid>
                <a:gridCol w="1732172">
                  <a:extLst>
                    <a:ext uri="{9D8B030D-6E8A-4147-A177-3AD203B41FA5}">
                      <a16:colId xmlns:a16="http://schemas.microsoft.com/office/drawing/2014/main" val="1126295487"/>
                    </a:ext>
                  </a:extLst>
                </a:gridCol>
              </a:tblGrid>
              <a:tr h="893724">
                <a:tc>
                  <a:txBody>
                    <a:bodyPr/>
                    <a:lstStyle/>
                    <a:p>
                      <a:pPr marL="0" indent="0">
                        <a:buFont typeface="Arial" panose="020B0604020202020204" pitchFamily="34" charset="0"/>
                        <a:buNone/>
                      </a:pPr>
                      <a:r>
                        <a:rPr lang="en-US" sz="1000" b="0" kern="1200" dirty="0">
                          <a:solidFill>
                            <a:schemeClr val="tx1"/>
                          </a:solidFill>
                          <a:latin typeface="+mn-lt"/>
                          <a:ea typeface="Open Sans SemiBold" panose="020B0706030804020204" pitchFamily="34" charset="0"/>
                          <a:cs typeface="Calibri Light" panose="020F0302020204030204" pitchFamily="34" charset="0"/>
                        </a:rPr>
                        <a:t>As per the contract</a:t>
                      </a:r>
                    </a:p>
                  </a:txBody>
                  <a:tcPr/>
                </a:tc>
                <a:extLst>
                  <a:ext uri="{0D108BD9-81ED-4DB2-BD59-A6C34878D82A}">
                    <a16:rowId xmlns:a16="http://schemas.microsoft.com/office/drawing/2014/main" val="3522333757"/>
                  </a:ext>
                </a:extLst>
              </a:tr>
            </a:tbl>
          </a:graphicData>
        </a:graphic>
      </p:graphicFrame>
      <p:graphicFrame>
        <p:nvGraphicFramePr>
          <p:cNvPr id="23" name="Table 22">
            <a:extLst>
              <a:ext uri="{FF2B5EF4-FFF2-40B4-BE49-F238E27FC236}">
                <a16:creationId xmlns:a16="http://schemas.microsoft.com/office/drawing/2014/main" id="{1B4C2E12-5B2B-124A-5BAF-BD39D6A8FA1E}"/>
              </a:ext>
            </a:extLst>
          </p:cNvPr>
          <p:cNvGraphicFramePr>
            <a:graphicFrameLocks noGrp="1"/>
          </p:cNvGraphicFramePr>
          <p:nvPr/>
        </p:nvGraphicFramePr>
        <p:xfrm>
          <a:off x="6948670" y="2409041"/>
          <a:ext cx="1939744" cy="1005840"/>
        </p:xfrm>
        <a:graphic>
          <a:graphicData uri="http://schemas.openxmlformats.org/drawingml/2006/table">
            <a:tbl>
              <a:tblPr firstRow="1" bandRow="1">
                <a:tableStyleId>{2D5ABB26-0587-4C30-8999-92F81FD0307C}</a:tableStyleId>
              </a:tblPr>
              <a:tblGrid>
                <a:gridCol w="1939744">
                  <a:extLst>
                    <a:ext uri="{9D8B030D-6E8A-4147-A177-3AD203B41FA5}">
                      <a16:colId xmlns:a16="http://schemas.microsoft.com/office/drawing/2014/main" val="1126295487"/>
                    </a:ext>
                  </a:extLst>
                </a:gridCol>
              </a:tblGrid>
              <a:tr h="893724">
                <a:tc>
                  <a:txBody>
                    <a:bodyPr/>
                    <a:lstStyle/>
                    <a:p>
                      <a:pPr marL="0" indent="0">
                        <a:buFont typeface="Arial" panose="020B0604020202020204" pitchFamily="34" charset="0"/>
                        <a:buNone/>
                      </a:pPr>
                      <a:r>
                        <a:rPr lang="en-US" sz="1000" b="1" kern="1200" dirty="0">
                          <a:solidFill>
                            <a:schemeClr val="tx1"/>
                          </a:solidFill>
                          <a:latin typeface="+mn-lt"/>
                          <a:ea typeface="Open Sans SemiBold" panose="020B0706030804020204" pitchFamily="34" charset="0"/>
                          <a:cs typeface="Calibri Light" panose="020F0302020204030204" pitchFamily="34" charset="0"/>
                        </a:rPr>
                        <a:t>If no standalone S.P. available</a:t>
                      </a:r>
                    </a:p>
                    <a:p>
                      <a:pPr marL="285750" indent="-285750">
                        <a:buFont typeface="Arial" panose="020B0604020202020204" pitchFamily="34" charset="0"/>
                        <a:buChar char="•"/>
                      </a:pPr>
                      <a:r>
                        <a:rPr lang="en-US" sz="1000" b="0" kern="1200" dirty="0">
                          <a:solidFill>
                            <a:schemeClr val="tx1"/>
                          </a:solidFill>
                          <a:latin typeface="+mn-lt"/>
                          <a:ea typeface="Open Sans SemiBold" panose="020B0706030804020204" pitchFamily="34" charset="0"/>
                          <a:cs typeface="Calibri Light" panose="020F0302020204030204" pitchFamily="34" charset="0"/>
                        </a:rPr>
                        <a:t>Adjusted market assessment approach</a:t>
                      </a:r>
                    </a:p>
                    <a:p>
                      <a:pPr marL="285750" indent="-285750">
                        <a:buFont typeface="Arial" panose="020B0604020202020204" pitchFamily="34" charset="0"/>
                        <a:buChar char="•"/>
                      </a:pPr>
                      <a:r>
                        <a:rPr lang="en-US" sz="1000" b="0" kern="1200" dirty="0">
                          <a:solidFill>
                            <a:schemeClr val="tx1"/>
                          </a:solidFill>
                          <a:latin typeface="+mn-lt"/>
                          <a:ea typeface="Open Sans SemiBold" panose="020B0706030804020204" pitchFamily="34" charset="0"/>
                          <a:cs typeface="Calibri Light" panose="020F0302020204030204" pitchFamily="34" charset="0"/>
                        </a:rPr>
                        <a:t>Cost plus markup approach</a:t>
                      </a:r>
                    </a:p>
                    <a:p>
                      <a:pPr marL="285750" indent="-285750">
                        <a:buFont typeface="Arial" panose="020B0604020202020204" pitchFamily="34" charset="0"/>
                        <a:buChar char="•"/>
                      </a:pPr>
                      <a:r>
                        <a:rPr lang="en-US" sz="1000" b="0" kern="1200" dirty="0">
                          <a:solidFill>
                            <a:schemeClr val="tx1"/>
                          </a:solidFill>
                          <a:latin typeface="+mn-lt"/>
                          <a:ea typeface="Open Sans SemiBold" panose="020B0706030804020204" pitchFamily="34" charset="0"/>
                          <a:cs typeface="Calibri Light" panose="020F0302020204030204" pitchFamily="34" charset="0"/>
                        </a:rPr>
                        <a:t>Residual approach</a:t>
                      </a:r>
                      <a:endParaRPr lang="en-GB" sz="1000" b="0" kern="1200" dirty="0">
                        <a:solidFill>
                          <a:schemeClr val="tx1"/>
                        </a:solidFill>
                        <a:latin typeface="+mn-lt"/>
                        <a:ea typeface="Open Sans SemiBold" panose="020B0706030804020204" pitchFamily="34" charset="0"/>
                        <a:cs typeface="Calibri Light" panose="020F0302020204030204" pitchFamily="34" charset="0"/>
                      </a:endParaRPr>
                    </a:p>
                  </a:txBody>
                  <a:tcPr/>
                </a:tc>
                <a:extLst>
                  <a:ext uri="{0D108BD9-81ED-4DB2-BD59-A6C34878D82A}">
                    <a16:rowId xmlns:a16="http://schemas.microsoft.com/office/drawing/2014/main" val="3522333757"/>
                  </a:ext>
                </a:extLst>
              </a:tr>
            </a:tbl>
          </a:graphicData>
        </a:graphic>
      </p:graphicFrame>
      <p:graphicFrame>
        <p:nvGraphicFramePr>
          <p:cNvPr id="24" name="Table 23">
            <a:extLst>
              <a:ext uri="{FF2B5EF4-FFF2-40B4-BE49-F238E27FC236}">
                <a16:creationId xmlns:a16="http://schemas.microsoft.com/office/drawing/2014/main" id="{1D41E691-153C-95C6-CE38-238B01B9693B}"/>
              </a:ext>
            </a:extLst>
          </p:cNvPr>
          <p:cNvGraphicFramePr>
            <a:graphicFrameLocks noGrp="1"/>
          </p:cNvGraphicFramePr>
          <p:nvPr/>
        </p:nvGraphicFramePr>
        <p:xfrm>
          <a:off x="6948670" y="3404549"/>
          <a:ext cx="1939744" cy="893724"/>
        </p:xfrm>
        <a:graphic>
          <a:graphicData uri="http://schemas.openxmlformats.org/drawingml/2006/table">
            <a:tbl>
              <a:tblPr firstRow="1" bandRow="1">
                <a:tableStyleId>{2D5ABB26-0587-4C30-8999-92F81FD0307C}</a:tableStyleId>
              </a:tblPr>
              <a:tblGrid>
                <a:gridCol w="1939744">
                  <a:extLst>
                    <a:ext uri="{9D8B030D-6E8A-4147-A177-3AD203B41FA5}">
                      <a16:colId xmlns:a16="http://schemas.microsoft.com/office/drawing/2014/main" val="1126295487"/>
                    </a:ext>
                  </a:extLst>
                </a:gridCol>
              </a:tblGrid>
              <a:tr h="893724">
                <a:tc>
                  <a:txBody>
                    <a:bodyPr/>
                    <a:lstStyle/>
                    <a:p>
                      <a:pPr marL="0" indent="0">
                        <a:buFont typeface="Arial" panose="020B0604020202020204" pitchFamily="34" charset="0"/>
                        <a:buNone/>
                      </a:pPr>
                      <a:r>
                        <a:rPr lang="en-US" sz="1000" b="1" kern="1200" dirty="0">
                          <a:solidFill>
                            <a:schemeClr val="tx1"/>
                          </a:solidFill>
                          <a:latin typeface="+mn-lt"/>
                          <a:ea typeface="Open Sans SemiBold" panose="020B0706030804020204" pitchFamily="34" charset="0"/>
                          <a:cs typeface="Calibri Light" panose="020F0302020204030204" pitchFamily="34" charset="0"/>
                        </a:rPr>
                        <a:t>Allocation of discount</a:t>
                      </a:r>
                    </a:p>
                    <a:p>
                      <a:pPr marL="285750" indent="-285750">
                        <a:buFont typeface="Arial" panose="020B0604020202020204" pitchFamily="34" charset="0"/>
                        <a:buChar char="•"/>
                      </a:pPr>
                      <a:r>
                        <a:rPr lang="en-US" sz="1000" b="0" kern="1200" dirty="0">
                          <a:solidFill>
                            <a:schemeClr val="tx1"/>
                          </a:solidFill>
                          <a:latin typeface="+mn-lt"/>
                          <a:ea typeface="Open Sans SemiBold" panose="020B0706030804020204" pitchFamily="34" charset="0"/>
                          <a:cs typeface="Calibri Light" panose="020F0302020204030204" pitchFamily="34" charset="0"/>
                        </a:rPr>
                        <a:t>To all performance obligations based on their relative standalone selling price</a:t>
                      </a:r>
                    </a:p>
                  </a:txBody>
                  <a:tcPr/>
                </a:tc>
                <a:extLst>
                  <a:ext uri="{0D108BD9-81ED-4DB2-BD59-A6C34878D82A}">
                    <a16:rowId xmlns:a16="http://schemas.microsoft.com/office/drawing/2014/main" val="3522333757"/>
                  </a:ext>
                </a:extLst>
              </a:tr>
            </a:tbl>
          </a:graphicData>
        </a:graphic>
      </p:graphicFrame>
      <p:graphicFrame>
        <p:nvGraphicFramePr>
          <p:cNvPr id="25" name="Table 24">
            <a:extLst>
              <a:ext uri="{FF2B5EF4-FFF2-40B4-BE49-F238E27FC236}">
                <a16:creationId xmlns:a16="http://schemas.microsoft.com/office/drawing/2014/main" id="{12C1E587-8121-5B56-F47D-7912E350515D}"/>
              </a:ext>
            </a:extLst>
          </p:cNvPr>
          <p:cNvGraphicFramePr>
            <a:graphicFrameLocks noGrp="1"/>
          </p:cNvGraphicFramePr>
          <p:nvPr/>
        </p:nvGraphicFramePr>
        <p:xfrm>
          <a:off x="870416" y="3360758"/>
          <a:ext cx="1939744" cy="893724"/>
        </p:xfrm>
        <a:graphic>
          <a:graphicData uri="http://schemas.openxmlformats.org/drawingml/2006/table">
            <a:tbl>
              <a:tblPr firstRow="1" bandRow="1">
                <a:tableStyleId>{2D5ABB26-0587-4C30-8999-92F81FD0307C}</a:tableStyleId>
              </a:tblPr>
              <a:tblGrid>
                <a:gridCol w="1939744">
                  <a:extLst>
                    <a:ext uri="{9D8B030D-6E8A-4147-A177-3AD203B41FA5}">
                      <a16:colId xmlns:a16="http://schemas.microsoft.com/office/drawing/2014/main" val="1126295487"/>
                    </a:ext>
                  </a:extLst>
                </a:gridCol>
              </a:tblGrid>
              <a:tr h="893724">
                <a:tc>
                  <a:txBody>
                    <a:bodyPr/>
                    <a:lstStyle/>
                    <a:p>
                      <a:pPr marL="0" indent="0">
                        <a:buFont typeface="Arial" panose="020B0604020202020204" pitchFamily="34" charset="0"/>
                        <a:buNone/>
                      </a:pPr>
                      <a:r>
                        <a:rPr lang="en-US" sz="1000" b="1" kern="1200" dirty="0">
                          <a:solidFill>
                            <a:schemeClr val="tx1"/>
                          </a:solidFill>
                          <a:latin typeface="+mn-lt"/>
                          <a:ea typeface="Open Sans SemiBold" panose="020B0706030804020204" pitchFamily="34" charset="0"/>
                          <a:cs typeface="Calibri Light" panose="020F0302020204030204" pitchFamily="34" charset="0"/>
                        </a:rPr>
                        <a:t>Contract combination</a:t>
                      </a:r>
                    </a:p>
                    <a:p>
                      <a:pPr marL="171450" indent="-171450">
                        <a:buFont typeface="Arial" panose="020B0604020202020204" pitchFamily="34" charset="0"/>
                        <a:buChar char="•"/>
                      </a:pPr>
                      <a:r>
                        <a:rPr lang="en-US" sz="1000" b="0" kern="1200" dirty="0">
                          <a:solidFill>
                            <a:schemeClr val="tx1"/>
                          </a:solidFill>
                          <a:latin typeface="+mn-lt"/>
                          <a:ea typeface="Open Sans SemiBold" panose="020B0706030804020204" pitchFamily="34" charset="0"/>
                          <a:cs typeface="Calibri Light" panose="020F0302020204030204" pitchFamily="34" charset="0"/>
                        </a:rPr>
                        <a:t>The amount of consideration in one contract is dependent on the price of the other contract</a:t>
                      </a:r>
                    </a:p>
                  </a:txBody>
                  <a:tcPr/>
                </a:tc>
                <a:extLst>
                  <a:ext uri="{0D108BD9-81ED-4DB2-BD59-A6C34878D82A}">
                    <a16:rowId xmlns:a16="http://schemas.microsoft.com/office/drawing/2014/main" val="3522333757"/>
                  </a:ext>
                </a:extLst>
              </a:tr>
            </a:tbl>
          </a:graphicData>
        </a:graphic>
      </p:graphicFrame>
      <p:graphicFrame>
        <p:nvGraphicFramePr>
          <p:cNvPr id="26" name="Table 25">
            <a:extLst>
              <a:ext uri="{FF2B5EF4-FFF2-40B4-BE49-F238E27FC236}">
                <a16:creationId xmlns:a16="http://schemas.microsoft.com/office/drawing/2014/main" id="{6331BA9D-C022-BE7A-E260-121126748F66}"/>
              </a:ext>
            </a:extLst>
          </p:cNvPr>
          <p:cNvGraphicFramePr>
            <a:graphicFrameLocks noGrp="1"/>
          </p:cNvGraphicFramePr>
          <p:nvPr/>
        </p:nvGraphicFramePr>
        <p:xfrm>
          <a:off x="900310" y="2409041"/>
          <a:ext cx="1939744" cy="893724"/>
        </p:xfrm>
        <a:graphic>
          <a:graphicData uri="http://schemas.openxmlformats.org/drawingml/2006/table">
            <a:tbl>
              <a:tblPr firstRow="1" bandRow="1">
                <a:tableStyleId>{2D5ABB26-0587-4C30-8999-92F81FD0307C}</a:tableStyleId>
              </a:tblPr>
              <a:tblGrid>
                <a:gridCol w="1939744">
                  <a:extLst>
                    <a:ext uri="{9D8B030D-6E8A-4147-A177-3AD203B41FA5}">
                      <a16:colId xmlns:a16="http://schemas.microsoft.com/office/drawing/2014/main" val="1126295487"/>
                    </a:ext>
                  </a:extLst>
                </a:gridCol>
              </a:tblGrid>
              <a:tr h="893724">
                <a:tc>
                  <a:txBody>
                    <a:bodyPr/>
                    <a:lstStyle/>
                    <a:p>
                      <a:pPr marL="0" indent="0">
                        <a:buFont typeface="Arial" panose="020B0604020202020204" pitchFamily="34" charset="0"/>
                        <a:buNone/>
                      </a:pPr>
                      <a:r>
                        <a:rPr lang="en-US" sz="1000" b="0" kern="1200" dirty="0">
                          <a:solidFill>
                            <a:schemeClr val="tx1"/>
                          </a:solidFill>
                          <a:latin typeface="+mn-lt"/>
                          <a:ea typeface="Open Sans SemiBold" panose="020B0706030804020204" pitchFamily="34" charset="0"/>
                          <a:cs typeface="Calibri Light" panose="020F0302020204030204" pitchFamily="34" charset="0"/>
                        </a:rPr>
                        <a:t>Fulfillment of key conditions for identifying a contract with the customer</a:t>
                      </a:r>
                      <a:endParaRPr lang="en-GB" sz="1000" b="0" kern="1200" dirty="0">
                        <a:solidFill>
                          <a:schemeClr val="tx1"/>
                        </a:solidFill>
                        <a:latin typeface="+mn-lt"/>
                        <a:ea typeface="Open Sans SemiBold" panose="020B0706030804020204" pitchFamily="34" charset="0"/>
                        <a:cs typeface="Calibri Light" panose="020F0302020204030204" pitchFamily="34" charset="0"/>
                      </a:endParaRPr>
                    </a:p>
                  </a:txBody>
                  <a:tcPr/>
                </a:tc>
                <a:extLst>
                  <a:ext uri="{0D108BD9-81ED-4DB2-BD59-A6C34878D82A}">
                    <a16:rowId xmlns:a16="http://schemas.microsoft.com/office/drawing/2014/main" val="3522333757"/>
                  </a:ext>
                </a:extLst>
              </a:tr>
            </a:tbl>
          </a:graphicData>
        </a:graphic>
      </p:graphicFrame>
      <p:graphicFrame>
        <p:nvGraphicFramePr>
          <p:cNvPr id="27" name="Table 26">
            <a:extLst>
              <a:ext uri="{FF2B5EF4-FFF2-40B4-BE49-F238E27FC236}">
                <a16:creationId xmlns:a16="http://schemas.microsoft.com/office/drawing/2014/main" id="{9D291E68-6793-BDAF-6840-5CA628158E4B}"/>
              </a:ext>
            </a:extLst>
          </p:cNvPr>
          <p:cNvGraphicFramePr>
            <a:graphicFrameLocks noGrp="1"/>
          </p:cNvGraphicFramePr>
          <p:nvPr/>
        </p:nvGraphicFramePr>
        <p:xfrm>
          <a:off x="9017020" y="3407616"/>
          <a:ext cx="2443883" cy="400004"/>
        </p:xfrm>
        <a:graphic>
          <a:graphicData uri="http://schemas.openxmlformats.org/drawingml/2006/table">
            <a:tbl>
              <a:tblPr firstRow="1" bandRow="1">
                <a:tableStyleId>{2D5ABB26-0587-4C30-8999-92F81FD0307C}</a:tableStyleId>
              </a:tblPr>
              <a:tblGrid>
                <a:gridCol w="2443883">
                  <a:extLst>
                    <a:ext uri="{9D8B030D-6E8A-4147-A177-3AD203B41FA5}">
                      <a16:colId xmlns:a16="http://schemas.microsoft.com/office/drawing/2014/main" val="1126295487"/>
                    </a:ext>
                  </a:extLst>
                </a:gridCol>
              </a:tblGrid>
              <a:tr h="400004">
                <a:tc>
                  <a:txBody>
                    <a:bodyPr/>
                    <a:lstStyle/>
                    <a:p>
                      <a:pPr marL="0" indent="0">
                        <a:buFont typeface="Arial" panose="020B0604020202020204" pitchFamily="34" charset="0"/>
                        <a:buNone/>
                      </a:pPr>
                      <a:r>
                        <a:rPr lang="en-US" sz="1000" b="1" kern="1200" dirty="0">
                          <a:solidFill>
                            <a:schemeClr val="tx1"/>
                          </a:solidFill>
                          <a:latin typeface="+mn-lt"/>
                          <a:ea typeface="Open Sans SemiBold" panose="020B0706030804020204" pitchFamily="34" charset="0"/>
                          <a:cs typeface="Calibri Light" panose="020F0302020204030204" pitchFamily="34" charset="0"/>
                        </a:rPr>
                        <a:t>Principal: </a:t>
                      </a:r>
                      <a:r>
                        <a:rPr lang="en-US" sz="1000" b="0" kern="1200" dirty="0">
                          <a:solidFill>
                            <a:schemeClr val="tx1"/>
                          </a:solidFill>
                          <a:latin typeface="+mn-lt"/>
                          <a:ea typeface="Open Sans SemiBold" panose="020B0706030804020204" pitchFamily="34" charset="0"/>
                          <a:cs typeface="Calibri Light" panose="020F0302020204030204" pitchFamily="34" charset="0"/>
                        </a:rPr>
                        <a:t>Gross revenue</a:t>
                      </a:r>
                    </a:p>
                    <a:p>
                      <a:pPr marL="0" indent="0">
                        <a:buFont typeface="Arial" panose="020B0604020202020204" pitchFamily="34" charset="0"/>
                        <a:buNone/>
                      </a:pPr>
                      <a:r>
                        <a:rPr lang="en-US" sz="1000" b="1" kern="1200" dirty="0">
                          <a:solidFill>
                            <a:schemeClr val="tx1"/>
                          </a:solidFill>
                          <a:latin typeface="+mn-lt"/>
                          <a:ea typeface="Open Sans SemiBold" panose="020B0706030804020204" pitchFamily="34" charset="0"/>
                          <a:cs typeface="Calibri Light" panose="020F0302020204030204" pitchFamily="34" charset="0"/>
                        </a:rPr>
                        <a:t>Agent: </a:t>
                      </a:r>
                      <a:r>
                        <a:rPr lang="en-US" sz="1000" b="0" kern="1200" dirty="0">
                          <a:solidFill>
                            <a:schemeClr val="tx1"/>
                          </a:solidFill>
                          <a:latin typeface="+mn-lt"/>
                          <a:ea typeface="Open Sans SemiBold" panose="020B0706030804020204" pitchFamily="34" charset="0"/>
                          <a:cs typeface="Calibri Light" panose="020F0302020204030204" pitchFamily="34" charset="0"/>
                        </a:rPr>
                        <a:t>Net revenue</a:t>
                      </a:r>
                    </a:p>
                  </a:txBody>
                  <a:tcPr/>
                </a:tc>
                <a:extLst>
                  <a:ext uri="{0D108BD9-81ED-4DB2-BD59-A6C34878D82A}">
                    <a16:rowId xmlns:a16="http://schemas.microsoft.com/office/drawing/2014/main" val="3522333757"/>
                  </a:ext>
                </a:extLst>
              </a:tr>
            </a:tbl>
          </a:graphicData>
        </a:graphic>
      </p:graphicFrame>
      <p:graphicFrame>
        <p:nvGraphicFramePr>
          <p:cNvPr id="28" name="Table 27">
            <a:extLst>
              <a:ext uri="{FF2B5EF4-FFF2-40B4-BE49-F238E27FC236}">
                <a16:creationId xmlns:a16="http://schemas.microsoft.com/office/drawing/2014/main" id="{1D50787A-BEE1-1FCC-B762-E7426AB397FE}"/>
              </a:ext>
            </a:extLst>
          </p:cNvPr>
          <p:cNvGraphicFramePr>
            <a:graphicFrameLocks noGrp="1"/>
          </p:cNvGraphicFramePr>
          <p:nvPr/>
        </p:nvGraphicFramePr>
        <p:xfrm>
          <a:off x="2917280" y="3371782"/>
          <a:ext cx="1984526" cy="548640"/>
        </p:xfrm>
        <a:graphic>
          <a:graphicData uri="http://schemas.openxmlformats.org/drawingml/2006/table">
            <a:tbl>
              <a:tblPr firstRow="1" bandRow="1">
                <a:tableStyleId>{2D5ABB26-0587-4C30-8999-92F81FD0307C}</a:tableStyleId>
              </a:tblPr>
              <a:tblGrid>
                <a:gridCol w="1984526">
                  <a:extLst>
                    <a:ext uri="{9D8B030D-6E8A-4147-A177-3AD203B41FA5}">
                      <a16:colId xmlns:a16="http://schemas.microsoft.com/office/drawing/2014/main" val="1126295487"/>
                    </a:ext>
                  </a:extLst>
                </a:gridCol>
              </a:tblGrid>
              <a:tr h="400004">
                <a:tc>
                  <a:txBody>
                    <a:bodyPr/>
                    <a:lstStyle/>
                    <a:p>
                      <a:pPr marL="0" indent="0">
                        <a:buFont typeface="Arial" panose="020B0604020202020204" pitchFamily="34" charset="0"/>
                        <a:buNone/>
                      </a:pPr>
                      <a:r>
                        <a:rPr lang="en-US" sz="1000" b="1" kern="1200" dirty="0">
                          <a:solidFill>
                            <a:schemeClr val="tx1"/>
                          </a:solidFill>
                          <a:latin typeface="+mn-lt"/>
                          <a:ea typeface="Open Sans SemiBold" panose="020B0706030804020204" pitchFamily="34" charset="0"/>
                          <a:cs typeface="Calibri Light" panose="020F0302020204030204" pitchFamily="34" charset="0"/>
                        </a:rPr>
                        <a:t>Principal/Agent considerations</a:t>
                      </a:r>
                    </a:p>
                    <a:p>
                      <a:pPr marL="171450" indent="-171450">
                        <a:buFont typeface="Arial" panose="020B0604020202020204" pitchFamily="34" charset="0"/>
                        <a:buChar char="•"/>
                      </a:pPr>
                      <a:r>
                        <a:rPr lang="en-US" sz="1000" b="0" kern="1200" dirty="0">
                          <a:solidFill>
                            <a:schemeClr val="tx1"/>
                          </a:solidFill>
                          <a:latin typeface="+mn-lt"/>
                          <a:ea typeface="Open Sans SemiBold" panose="020B0706030804020204" pitchFamily="34" charset="0"/>
                          <a:cs typeface="Calibri Light" panose="020F0302020204030204" pitchFamily="34" charset="0"/>
                        </a:rPr>
                        <a:t>Judgmental (assumptions based)</a:t>
                      </a:r>
                    </a:p>
                  </a:txBody>
                  <a:tcPr/>
                </a:tc>
                <a:extLst>
                  <a:ext uri="{0D108BD9-81ED-4DB2-BD59-A6C34878D82A}">
                    <a16:rowId xmlns:a16="http://schemas.microsoft.com/office/drawing/2014/main" val="3522333757"/>
                  </a:ext>
                </a:extLst>
              </a:tr>
            </a:tbl>
          </a:graphicData>
        </a:graphic>
      </p:graphicFrame>
      <p:sp>
        <p:nvSpPr>
          <p:cNvPr id="29" name="Content Placeholder 3">
            <a:extLst>
              <a:ext uri="{FF2B5EF4-FFF2-40B4-BE49-F238E27FC236}">
                <a16:creationId xmlns:a16="http://schemas.microsoft.com/office/drawing/2014/main" id="{6590E79B-4CA1-DDCD-D093-8ED3F5001B2A}"/>
              </a:ext>
            </a:extLst>
          </p:cNvPr>
          <p:cNvSpPr txBox="1">
            <a:spLocks/>
          </p:cNvSpPr>
          <p:nvPr/>
        </p:nvSpPr>
        <p:spPr>
          <a:xfrm>
            <a:off x="941544" y="785679"/>
            <a:ext cx="1863725" cy="218417"/>
          </a:xfrm>
          <a:prstGeom prst="rect">
            <a:avLst/>
          </a:prstGeom>
          <a:noFill/>
          <a:ln w="19050">
            <a:noFill/>
          </a:ln>
        </p:spPr>
        <p:txBody>
          <a:bodyPr vert="horz" wrap="square" lIns="0" tIns="0" rIns="0" bIns="0" rtlCol="0" anchor="ctr">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GB" sz="1200" b="1"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REVENUE</a:t>
            </a:r>
          </a:p>
        </p:txBody>
      </p:sp>
      <p:sp>
        <p:nvSpPr>
          <p:cNvPr id="30" name="Content Placeholder 3">
            <a:extLst>
              <a:ext uri="{FF2B5EF4-FFF2-40B4-BE49-F238E27FC236}">
                <a16:creationId xmlns:a16="http://schemas.microsoft.com/office/drawing/2014/main" id="{A23FE9F5-C1C0-D2A8-FB6C-40A515796EEF}"/>
              </a:ext>
            </a:extLst>
          </p:cNvPr>
          <p:cNvSpPr txBox="1">
            <a:spLocks/>
          </p:cNvSpPr>
          <p:nvPr/>
        </p:nvSpPr>
        <p:spPr>
          <a:xfrm>
            <a:off x="853325" y="4469604"/>
            <a:ext cx="1863725" cy="218417"/>
          </a:xfrm>
          <a:prstGeom prst="rect">
            <a:avLst/>
          </a:prstGeom>
          <a:noFill/>
          <a:ln w="19050">
            <a:noFill/>
          </a:ln>
        </p:spPr>
        <p:txBody>
          <a:bodyPr vert="horz" wrap="square" lIns="0" tIns="0" rIns="0" bIns="0" rtlCol="0" anchor="ctr">
            <a:noAutofit/>
          </a:bodyPr>
          <a:lstStyle>
            <a:lvl1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sz="1200" b="0" kern="1200">
                <a:solidFill>
                  <a:srgbClr val="575757"/>
                </a:solidFill>
                <a:latin typeface="Frutiger Next Pro Light" panose="020B0303040204020203" pitchFamily="34" charset="0"/>
                <a:ea typeface="+mn-ea"/>
                <a:cs typeface="+mn-cs"/>
              </a:defRPr>
            </a:lvl1pPr>
            <a:lvl2pPr marL="0" indent="0"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b="1" kern="1200" dirty="0" smtClean="0">
                <a:solidFill>
                  <a:srgbClr val="575757"/>
                </a:solidFill>
                <a:latin typeface="Frutiger Next Pro Light" panose="020B0303040204020203" pitchFamily="34" charset="0"/>
                <a:ea typeface="+mn-ea"/>
                <a:cs typeface="+mn-cs"/>
              </a:defRPr>
            </a:lvl2pPr>
            <a:lvl3pPr marL="235194" indent="-235194" algn="l" defTabSz="1219170" rtl="0" eaLnBrk="1" latinLnBrk="0" hangingPunct="1">
              <a:lnSpc>
                <a:spcPct val="150000"/>
              </a:lnSpc>
              <a:spcBef>
                <a:spcPts val="0"/>
              </a:spcBef>
              <a:spcAft>
                <a:spcPts val="1333"/>
              </a:spcAft>
              <a:buClrTx/>
              <a:buSzPct val="100000"/>
              <a:buFont typeface="Arial" panose="020B0604020202020204" pitchFamily="34" charset="0"/>
              <a:buChar char="•"/>
              <a:defRPr lang="en-US" sz="1200" kern="1200" dirty="0" smtClean="0">
                <a:solidFill>
                  <a:srgbClr val="575757"/>
                </a:solidFill>
                <a:latin typeface="Frutiger Next Pro Light" panose="020B0303040204020203" pitchFamily="34" charset="0"/>
                <a:ea typeface="+mn-ea"/>
                <a:cs typeface="+mn-cs"/>
              </a:defRPr>
            </a:lvl3pPr>
            <a:lvl4pPr marL="475188" indent="-235194" algn="l" defTabSz="1219170" rtl="0" eaLnBrk="1" latinLnBrk="0" hangingPunct="1">
              <a:lnSpc>
                <a:spcPct val="150000"/>
              </a:lnSpc>
              <a:spcBef>
                <a:spcPts val="0"/>
              </a:spcBef>
              <a:spcAft>
                <a:spcPts val="1333"/>
              </a:spcAft>
              <a:buClrTx/>
              <a:buSzPct val="100000"/>
              <a:buFont typeface="Verdana" panose="020B0604030504040204" pitchFamily="34" charset="0"/>
              <a:buChar char="−"/>
              <a:defRPr lang="en-US" sz="1200" kern="1200" baseline="0" dirty="0" smtClean="0">
                <a:solidFill>
                  <a:srgbClr val="575757"/>
                </a:solidFill>
                <a:latin typeface="Frutiger Next Pro Light" panose="020B0303040204020203" pitchFamily="34" charset="0"/>
                <a:ea typeface="+mn-ea"/>
                <a:cs typeface="+mn-cs"/>
              </a:defRPr>
            </a:lvl4pPr>
            <a:lvl5pPr marL="710382" indent="-235194" algn="l" defTabSz="1064657" rtl="0" eaLnBrk="1" latinLnBrk="0" hangingPunct="1">
              <a:lnSpc>
                <a:spcPct val="150000"/>
              </a:lnSpc>
              <a:spcBef>
                <a:spcPts val="0"/>
              </a:spcBef>
              <a:spcAft>
                <a:spcPts val="1333"/>
              </a:spcAft>
              <a:buClrTx/>
              <a:buSzPct val="100000"/>
              <a:buFont typeface="Verdana" panose="020B0604030504040204" pitchFamily="34" charset="0"/>
              <a:buChar char="−"/>
              <a:tabLst/>
              <a:defRPr lang="en-US" sz="1200" kern="1200" baseline="0" dirty="0" smtClean="0">
                <a:solidFill>
                  <a:srgbClr val="575757"/>
                </a:solidFill>
                <a:latin typeface="Frutiger Next Pro Light" panose="020B0303040204020203"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200" b="1"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L</a:t>
            </a:r>
            <a:r>
              <a:rPr kumimoji="0" lang="en-GB" sz="1200" b="1" i="0" u="none" strike="noStrike" kern="1200" cap="none" spc="0" normalizeH="0" baseline="0" noProof="0" dirty="0">
                <a:ln>
                  <a:noFill/>
                </a:ln>
                <a:solidFill>
                  <a:prstClr val="black"/>
                </a:solidFill>
                <a:effectLst/>
                <a:uLnTx/>
                <a:uFillTx/>
                <a:latin typeface="Aptos" panose="02110004020202020204"/>
                <a:ea typeface="Open Sans SemiBold" panose="020B0706030804020204" pitchFamily="34" charset="0"/>
                <a:cs typeface="Calibri Light" panose="020F0302020204030204" pitchFamily="34" charset="0"/>
              </a:rPr>
              <a:t>EASE</a:t>
            </a:r>
          </a:p>
        </p:txBody>
      </p:sp>
      <p:graphicFrame>
        <p:nvGraphicFramePr>
          <p:cNvPr id="31" name="Table 30">
            <a:extLst>
              <a:ext uri="{FF2B5EF4-FFF2-40B4-BE49-F238E27FC236}">
                <a16:creationId xmlns:a16="http://schemas.microsoft.com/office/drawing/2014/main" id="{303DCF47-8603-AEF2-C4EA-8C938F4148D2}"/>
              </a:ext>
            </a:extLst>
          </p:cNvPr>
          <p:cNvGraphicFramePr>
            <a:graphicFrameLocks noGrp="1"/>
          </p:cNvGraphicFramePr>
          <p:nvPr/>
        </p:nvGraphicFramePr>
        <p:xfrm>
          <a:off x="744467" y="5032637"/>
          <a:ext cx="2913133" cy="1615440"/>
        </p:xfrm>
        <a:graphic>
          <a:graphicData uri="http://schemas.openxmlformats.org/drawingml/2006/table">
            <a:tbl>
              <a:tblPr firstRow="1" bandRow="1">
                <a:tableStyleId>{2D5ABB26-0587-4C30-8999-92F81FD0307C}</a:tableStyleId>
              </a:tblPr>
              <a:tblGrid>
                <a:gridCol w="2913133">
                  <a:extLst>
                    <a:ext uri="{9D8B030D-6E8A-4147-A177-3AD203B41FA5}">
                      <a16:colId xmlns:a16="http://schemas.microsoft.com/office/drawing/2014/main" val="1126295487"/>
                    </a:ext>
                  </a:extLst>
                </a:gridCol>
              </a:tblGrid>
              <a:tr h="89372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chemeClr val="tx1"/>
                          </a:solidFill>
                          <a:latin typeface="+mn-lt"/>
                          <a:ea typeface="Open Sans SemiBold" panose="020B0706030804020204" pitchFamily="34" charset="0"/>
                          <a:cs typeface="Calibri Light" panose="020F0302020204030204" pitchFamily="34" charset="0"/>
                        </a:rPr>
                        <a:t>Criter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Open Sans SemiBold" panose="020B0706030804020204" pitchFamily="34" charset="0"/>
                          <a:cs typeface="Calibri Light" panose="020F0302020204030204" pitchFamily="34" charset="0"/>
                        </a:rPr>
                        <a:t>Ownership Transf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Open Sans SemiBold" panose="020B0706030804020204" pitchFamily="34" charset="0"/>
                          <a:cs typeface="Calibri Light" panose="020F0302020204030204" pitchFamily="34" charset="0"/>
                        </a:rPr>
                        <a:t>Major Life Us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Open Sans SemiBold" panose="020B0706030804020204" pitchFamily="34" charset="0"/>
                          <a:cs typeface="Calibri Light" panose="020F0302020204030204" pitchFamily="34" charset="0"/>
                        </a:rPr>
                        <a:t>Substantial Present Val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Open Sans SemiBold" panose="020B0706030804020204" pitchFamily="34" charset="0"/>
                          <a:cs typeface="Calibri Light" panose="020F0302020204030204" pitchFamily="34" charset="0"/>
                        </a:rPr>
                        <a:t>Specialised Asse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Open Sans SemiBold" panose="020B0706030804020204" pitchFamily="34" charset="0"/>
                          <a:cs typeface="Calibri Light" panose="020F0302020204030204" pitchFamily="34" charset="0"/>
                        </a:rPr>
                        <a:t>Residual Ris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Open Sans SemiBold" panose="020B0706030804020204" pitchFamily="34" charset="0"/>
                          <a:cs typeface="Calibri Light" panose="020F0302020204030204" pitchFamily="34" charset="0"/>
                        </a:rPr>
                        <a:t>Bargain Extens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kern="1200" dirty="0">
                        <a:solidFill>
                          <a:schemeClr val="tx1"/>
                        </a:solidFill>
                        <a:latin typeface="+mn-lt"/>
                        <a:ea typeface="Open Sans SemiBold" panose="020B070603080402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000" b="0" kern="1200" dirty="0">
                          <a:solidFill>
                            <a:schemeClr val="tx1"/>
                          </a:solidFill>
                          <a:latin typeface="+mn-lt"/>
                          <a:ea typeface="Open Sans SemiBold" panose="020B0706030804020204" pitchFamily="34" charset="0"/>
                          <a:cs typeface="Calibri Light" panose="020F0302020204030204" pitchFamily="34" charset="0"/>
                        </a:rPr>
                        <a:t>Judgement (assumptions based)</a:t>
                      </a:r>
                    </a:p>
                    <a:p>
                      <a:pPr marL="171450" indent="-171450">
                        <a:buFont typeface="Arial" panose="020B0604020202020204" pitchFamily="34" charset="0"/>
                        <a:buChar char="•"/>
                      </a:pPr>
                      <a:endParaRPr lang="en-US" sz="1000" b="0" kern="1200" dirty="0">
                        <a:solidFill>
                          <a:schemeClr val="tx1"/>
                        </a:solidFill>
                        <a:latin typeface="+mn-lt"/>
                        <a:ea typeface="Open Sans SemiBold" panose="020B0706030804020204" pitchFamily="34" charset="0"/>
                        <a:cs typeface="Calibri Light" panose="020F0302020204030204" pitchFamily="34" charset="0"/>
                      </a:endParaRPr>
                    </a:p>
                  </a:txBody>
                  <a:tcPr/>
                </a:tc>
                <a:extLst>
                  <a:ext uri="{0D108BD9-81ED-4DB2-BD59-A6C34878D82A}">
                    <a16:rowId xmlns:a16="http://schemas.microsoft.com/office/drawing/2014/main" val="3522333757"/>
                  </a:ext>
                </a:extLst>
              </a:tr>
            </a:tbl>
          </a:graphicData>
        </a:graphic>
      </p:graphicFrame>
      <p:sp>
        <p:nvSpPr>
          <p:cNvPr id="33" name="Rectangle 32">
            <a:extLst>
              <a:ext uri="{FF2B5EF4-FFF2-40B4-BE49-F238E27FC236}">
                <a16:creationId xmlns:a16="http://schemas.microsoft.com/office/drawing/2014/main" id="{83FB4FBD-6CF5-C8AE-CAB7-0959ED584BCA}"/>
              </a:ext>
            </a:extLst>
          </p:cNvPr>
          <p:cNvSpPr>
            <a:spLocks/>
          </p:cNvSpPr>
          <p:nvPr/>
        </p:nvSpPr>
        <p:spPr bwMode="gray">
          <a:xfrm>
            <a:off x="1996441" y="718878"/>
            <a:ext cx="9640387" cy="469184"/>
          </a:xfrm>
          <a:prstGeom prst="rect">
            <a:avLst/>
          </a:prstGeom>
          <a:noFill/>
          <a:ln w="19050" algn="ctr">
            <a:noFill/>
            <a:miter lim="800000"/>
            <a:headEnd/>
            <a:tailEnd/>
          </a:ln>
        </p:spPr>
        <p:txBody>
          <a:bodyPr wrap="square" lIns="0" tIns="0" rIns="0" bIns="0" rtlCol="0" anchor="ctr">
            <a:noAutofit/>
          </a:bodyPr>
          <a:lstStyle/>
          <a:p>
            <a:pPr marL="0" marR="0" lvl="3" indent="0" algn="l" defTabSz="914400" rtl="0" eaLnBrk="1" fontAlgn="ctr"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Yu Mincho" panose="02020400000000000000" pitchFamily="18" charset="-128"/>
                <a:cs typeface="Arial" panose="020B0604020202020204" pitchFamily="34" charset="0"/>
              </a:rPr>
              <a:t>An entity recognises revenue to depict the transfer of promised goods or services to customers in an amount that reflects the consideration to which the entity expects to be entitled in exchange for those goods or services</a:t>
            </a:r>
          </a:p>
        </p:txBody>
      </p:sp>
      <p:sp>
        <p:nvSpPr>
          <p:cNvPr id="34" name="Rectangle 33">
            <a:extLst>
              <a:ext uri="{FF2B5EF4-FFF2-40B4-BE49-F238E27FC236}">
                <a16:creationId xmlns:a16="http://schemas.microsoft.com/office/drawing/2014/main" id="{8AE6DABD-FB66-69C5-41A3-06CE3120E851}"/>
              </a:ext>
            </a:extLst>
          </p:cNvPr>
          <p:cNvSpPr>
            <a:spLocks/>
          </p:cNvSpPr>
          <p:nvPr/>
        </p:nvSpPr>
        <p:spPr bwMode="gray">
          <a:xfrm>
            <a:off x="2072856" y="4446105"/>
            <a:ext cx="9398749" cy="469184"/>
          </a:xfrm>
          <a:prstGeom prst="rect">
            <a:avLst/>
          </a:prstGeom>
          <a:noFill/>
          <a:ln w="19050" algn="ctr">
            <a:noFill/>
            <a:miter lim="800000"/>
            <a:headEnd/>
            <a:tailEnd/>
          </a:ln>
        </p:spPr>
        <p:txBody>
          <a:bodyPr wrap="square" lIns="0" tIns="0" rIns="0" bIns="0" rtlCol="0" anchor="ctr">
            <a:noAutofit/>
          </a:bodyPr>
          <a:lstStyle/>
          <a:p>
            <a:pPr marL="0" marR="0" lvl="3" indent="0" algn="l"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Yu Mincho" panose="02020400000000000000" pitchFamily="18" charset="-128"/>
                <a:cs typeface="Arial" panose="020B0604020202020204" pitchFamily="34" charset="0"/>
              </a:rPr>
              <a:t>Leases are classified currently as finance or operating leases at inception, depending on whether substantially all the risks and rewards of ownership transfer to the lessee. Under a finance lease, the lessee has substantially all of the risks and reward of ownership:</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Yu Mincho" panose="02020400000000000000" pitchFamily="18" charset="-128"/>
              <a:cs typeface="Arial" panose="020B0604020202020204" pitchFamily="34" charset="0"/>
            </a:endParaRPr>
          </a:p>
        </p:txBody>
      </p:sp>
      <p:graphicFrame>
        <p:nvGraphicFramePr>
          <p:cNvPr id="35" name="Table 34">
            <a:extLst>
              <a:ext uri="{FF2B5EF4-FFF2-40B4-BE49-F238E27FC236}">
                <a16:creationId xmlns:a16="http://schemas.microsoft.com/office/drawing/2014/main" id="{9D81B32F-FDA6-BF11-4C3B-AD2256D79BDA}"/>
              </a:ext>
            </a:extLst>
          </p:cNvPr>
          <p:cNvGraphicFramePr>
            <a:graphicFrameLocks noGrp="1"/>
          </p:cNvGraphicFramePr>
          <p:nvPr/>
        </p:nvGraphicFramePr>
        <p:xfrm>
          <a:off x="5189255" y="5052789"/>
          <a:ext cx="1984526" cy="893724"/>
        </p:xfrm>
        <a:graphic>
          <a:graphicData uri="http://schemas.openxmlformats.org/drawingml/2006/table">
            <a:tbl>
              <a:tblPr firstRow="1" bandRow="1">
                <a:tableStyleId>{2D5ABB26-0587-4C30-8999-92F81FD0307C}</a:tableStyleId>
              </a:tblPr>
              <a:tblGrid>
                <a:gridCol w="1984526">
                  <a:extLst>
                    <a:ext uri="{9D8B030D-6E8A-4147-A177-3AD203B41FA5}">
                      <a16:colId xmlns:a16="http://schemas.microsoft.com/office/drawing/2014/main" val="1126295487"/>
                    </a:ext>
                  </a:extLst>
                </a:gridCol>
              </a:tblGrid>
              <a:tr h="89372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chemeClr val="tx1"/>
                          </a:solidFill>
                          <a:latin typeface="+mn-lt"/>
                          <a:ea typeface="Open Sans SemiBold" panose="020B0706030804020204" pitchFamily="34" charset="0"/>
                          <a:cs typeface="Calibri Light" panose="020F0302020204030204" pitchFamily="34" charset="0"/>
                        </a:rPr>
                        <a:t>Operating le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Open Sans SemiBold" panose="020B0706030804020204" pitchFamily="34" charset="0"/>
                          <a:cs typeface="Calibri Light" panose="020F0302020204030204" pitchFamily="34" charset="0"/>
                        </a:rPr>
                        <a:t>Lease income straight lined over the lease term</a:t>
                      </a:r>
                    </a:p>
                    <a:p>
                      <a:pPr marL="171450" indent="-171450">
                        <a:buFont typeface="Arial" panose="020B0604020202020204" pitchFamily="34" charset="0"/>
                        <a:buChar char="•"/>
                      </a:pPr>
                      <a:endParaRPr lang="en-US" sz="1000" b="0" kern="1200" dirty="0">
                        <a:solidFill>
                          <a:schemeClr val="tx1"/>
                        </a:solidFill>
                        <a:latin typeface="+mn-lt"/>
                        <a:ea typeface="Open Sans SemiBold" panose="020B0706030804020204" pitchFamily="34" charset="0"/>
                        <a:cs typeface="Calibri Light" panose="020F0302020204030204" pitchFamily="34" charset="0"/>
                      </a:endParaRPr>
                    </a:p>
                  </a:txBody>
                  <a:tcPr/>
                </a:tc>
                <a:extLst>
                  <a:ext uri="{0D108BD9-81ED-4DB2-BD59-A6C34878D82A}">
                    <a16:rowId xmlns:a16="http://schemas.microsoft.com/office/drawing/2014/main" val="3522333757"/>
                  </a:ext>
                </a:extLst>
              </a:tr>
            </a:tbl>
          </a:graphicData>
        </a:graphic>
      </p:graphicFrame>
      <p:graphicFrame>
        <p:nvGraphicFramePr>
          <p:cNvPr id="36" name="Table 35">
            <a:extLst>
              <a:ext uri="{FF2B5EF4-FFF2-40B4-BE49-F238E27FC236}">
                <a16:creationId xmlns:a16="http://schemas.microsoft.com/office/drawing/2014/main" id="{A0531909-6BAB-5771-11A9-2FB2A67F8366}"/>
              </a:ext>
            </a:extLst>
          </p:cNvPr>
          <p:cNvGraphicFramePr>
            <a:graphicFrameLocks noGrp="1"/>
          </p:cNvGraphicFramePr>
          <p:nvPr/>
        </p:nvGraphicFramePr>
        <p:xfrm>
          <a:off x="6988858" y="5030552"/>
          <a:ext cx="2913133" cy="893724"/>
        </p:xfrm>
        <a:graphic>
          <a:graphicData uri="http://schemas.openxmlformats.org/drawingml/2006/table">
            <a:tbl>
              <a:tblPr firstRow="1" bandRow="1">
                <a:tableStyleId>{2D5ABB26-0587-4C30-8999-92F81FD0307C}</a:tableStyleId>
              </a:tblPr>
              <a:tblGrid>
                <a:gridCol w="2913133">
                  <a:extLst>
                    <a:ext uri="{9D8B030D-6E8A-4147-A177-3AD203B41FA5}">
                      <a16:colId xmlns:a16="http://schemas.microsoft.com/office/drawing/2014/main" val="1126295487"/>
                    </a:ext>
                  </a:extLst>
                </a:gridCol>
              </a:tblGrid>
              <a:tr h="89372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chemeClr val="tx1"/>
                          </a:solidFill>
                          <a:latin typeface="+mn-lt"/>
                          <a:ea typeface="Open Sans SemiBold" panose="020B0706030804020204" pitchFamily="34" charset="0"/>
                          <a:cs typeface="Calibri Light" panose="020F0302020204030204" pitchFamily="34" charset="0"/>
                        </a:rPr>
                        <a:t>Finance le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Open Sans SemiBold" panose="020B0706030804020204" pitchFamily="34" charset="0"/>
                          <a:cs typeface="Calibri Light" panose="020F0302020204030204" pitchFamily="34" charset="0"/>
                        </a:rPr>
                        <a:t>Net Investment in Le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Open Sans SemiBold" panose="020B0706030804020204" pitchFamily="34" charset="0"/>
                          <a:cs typeface="Calibri Light" panose="020F0302020204030204" pitchFamily="34" charset="0"/>
                        </a:rPr>
                        <a:t>Interest Reven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Open Sans SemiBold" panose="020B0706030804020204" pitchFamily="34" charset="0"/>
                          <a:cs typeface="Calibri Light" panose="020F0302020204030204" pitchFamily="34" charset="0"/>
                        </a:rPr>
                        <a:t>Repayment of principal and interest</a:t>
                      </a:r>
                    </a:p>
                    <a:p>
                      <a:pPr marL="171450" indent="-171450">
                        <a:buFont typeface="Arial" panose="020B0604020202020204" pitchFamily="34" charset="0"/>
                        <a:buChar char="•"/>
                      </a:pPr>
                      <a:endParaRPr lang="en-US" sz="1000" b="0" kern="1200" dirty="0">
                        <a:solidFill>
                          <a:schemeClr val="tx1"/>
                        </a:solidFill>
                        <a:latin typeface="+mn-lt"/>
                        <a:ea typeface="Open Sans SemiBold" panose="020B0706030804020204" pitchFamily="34" charset="0"/>
                        <a:cs typeface="Calibri Light" panose="020F0302020204030204" pitchFamily="34" charset="0"/>
                      </a:endParaRPr>
                    </a:p>
                  </a:txBody>
                  <a:tcPr/>
                </a:tc>
                <a:extLst>
                  <a:ext uri="{0D108BD9-81ED-4DB2-BD59-A6C34878D82A}">
                    <a16:rowId xmlns:a16="http://schemas.microsoft.com/office/drawing/2014/main" val="3522333757"/>
                  </a:ext>
                </a:extLst>
              </a:tr>
            </a:tbl>
          </a:graphicData>
        </a:graphic>
      </p:graphicFrame>
    </p:spTree>
    <p:extLst>
      <p:ext uri="{BB962C8B-B14F-4D97-AF65-F5344CB8AC3E}">
        <p14:creationId xmlns:p14="http://schemas.microsoft.com/office/powerpoint/2010/main" val="500623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C0959-6DCD-0A55-E02A-6845351BB80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AA571B7-678C-2F3E-8DEB-8E08C56DB29B}"/>
              </a:ext>
            </a:extLst>
          </p:cNvPr>
          <p:cNvSpPr>
            <a:spLocks noGrp="1"/>
          </p:cNvSpPr>
          <p:nvPr>
            <p:ph type="body" sz="quarter" idx="13"/>
          </p:nvPr>
        </p:nvSpPr>
        <p:spPr>
          <a:xfrm>
            <a:off x="457200" y="682940"/>
            <a:ext cx="11283696" cy="757255"/>
          </a:xfrm>
        </p:spPr>
        <p:txBody>
          <a:bodyPr/>
          <a:lstStyle/>
          <a:p>
            <a:r>
              <a:rPr lang="en-GB" b="1" dirty="0">
                <a:solidFill>
                  <a:srgbClr val="FF0000"/>
                </a:solidFill>
              </a:rPr>
              <a:t>Step 1 – Identify the contract</a:t>
            </a:r>
          </a:p>
        </p:txBody>
      </p:sp>
      <p:sp>
        <p:nvSpPr>
          <p:cNvPr id="107" name="Rectangle 106">
            <a:extLst>
              <a:ext uri="{FF2B5EF4-FFF2-40B4-BE49-F238E27FC236}">
                <a16:creationId xmlns:a16="http://schemas.microsoft.com/office/drawing/2014/main" id="{87FB9FAA-5EC0-D8E0-3BE6-EE84367E74A3}"/>
              </a:ext>
            </a:extLst>
          </p:cNvPr>
          <p:cNvSpPr/>
          <p:nvPr/>
        </p:nvSpPr>
        <p:spPr bwMode="gray">
          <a:xfrm>
            <a:off x="457200" y="2655277"/>
            <a:ext cx="4783015" cy="25380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4AB3D428-8FCB-E5E9-EA51-FD9A89ABE22F}"/>
              </a:ext>
            </a:extLst>
          </p:cNvPr>
          <p:cNvSpPr txBox="1">
            <a:spLocks/>
          </p:cNvSpPr>
          <p:nvPr/>
        </p:nvSpPr>
        <p:spPr>
          <a:xfrm>
            <a:off x="404978" y="1797353"/>
            <a:ext cx="10069758" cy="2488675"/>
          </a:xfrm>
          <a:prstGeom prst="roundRect">
            <a:avLst>
              <a:gd name="adj" fmla="val 9761"/>
            </a:avLst>
          </a:prstGeom>
          <a:solidFill>
            <a:schemeClr val="bg1">
              <a:lumMod val="95000"/>
            </a:schemeClr>
          </a:solidFill>
          <a:ln w="19050" algn="ctr">
            <a:noFill/>
            <a:miter lim="800000"/>
            <a:headEnd/>
            <a:tailEnd/>
          </a:ln>
        </p:spPr>
        <p:txBody>
          <a:bodyPr wrap="square" lIns="548640" tIns="88900" rIns="88900" bIns="88900" rtlCol="0" anchor="ctr"/>
          <a:lstStyle>
            <a:defPPr>
              <a:defRPr lang="en-US"/>
            </a:defPPr>
            <a:lvl1pPr algn="ctr">
              <a:lnSpc>
                <a:spcPct val="106000"/>
              </a:lnSpc>
              <a:buFont typeface="Wingdings 2" pitchFamily="18" charset="2"/>
              <a:buNone/>
              <a:defRPr sz="1600" b="1">
                <a:solidFill>
                  <a:schemeClr val="bg1"/>
                </a:solidFill>
              </a:defRPr>
            </a:lvl1pPr>
          </a:lstStyle>
          <a:p>
            <a:pPr marL="0" marR="0" lvl="0" indent="0" algn="l" defTabSz="914400" rtl="0" eaLnBrk="1" fontAlgn="auto" latinLnBrk="0" hangingPunct="1">
              <a:lnSpc>
                <a:spcPct val="106000"/>
              </a:lnSpc>
              <a:spcBef>
                <a:spcPts val="1800"/>
              </a:spcBef>
              <a:spcAft>
                <a:spcPts val="0"/>
              </a:spcAft>
              <a:buClrTx/>
              <a:buSzPct val="100000"/>
              <a:buFont typeface="Wingdings 2" pitchFamily="18" charset="2"/>
              <a:buNone/>
              <a:tabLst/>
              <a:defRPr/>
            </a:pPr>
            <a:endParaRPr kumimoji="0" lang="en-GB" sz="10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6000"/>
              </a:lnSpc>
              <a:spcBef>
                <a:spcPts val="1800"/>
              </a:spcBef>
              <a:spcAft>
                <a:spcPts val="0"/>
              </a:spcAft>
              <a:buClrTx/>
              <a:buSzPct val="100000"/>
              <a:buFont typeface="Wingdings 2" pitchFamily="18" charset="2"/>
              <a:buNone/>
              <a:tabLst/>
              <a:defRPr/>
            </a:pPr>
            <a:endPar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6000"/>
              </a:lnSpc>
              <a:spcBef>
                <a:spcPts val="1800"/>
              </a:spcBef>
              <a:spcAft>
                <a:spcPts val="0"/>
              </a:spcAft>
              <a:buClrTx/>
              <a:buSzPct val="100000"/>
              <a:buFont typeface="Arial" panose="020B0604020202020204" pitchFamily="34" charset="0"/>
              <a:buChar char="•"/>
              <a:tabLst/>
              <a:defRPr/>
            </a:pPr>
            <a:r>
              <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rPr>
              <a:t>Vodafone and its customers have entered into a </a:t>
            </a:r>
            <a:r>
              <a:rPr kumimoji="0" lang="en-GB" sz="1000" b="1" i="0" u="none" strike="noStrike" kern="1200" cap="none" spc="0" normalizeH="0" baseline="0" noProof="0" dirty="0">
                <a:ln>
                  <a:noFill/>
                </a:ln>
                <a:solidFill>
                  <a:prstClr val="black"/>
                </a:solidFill>
                <a:effectLst/>
                <a:uLnTx/>
                <a:uFillTx/>
                <a:latin typeface="Aptos" panose="02110004020202020204"/>
                <a:ea typeface="+mn-ea"/>
                <a:cs typeface="+mn-cs"/>
              </a:rPr>
              <a:t>formal contract </a:t>
            </a:r>
            <a:r>
              <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rPr>
              <a:t>for the provision of services and are </a:t>
            </a:r>
            <a:r>
              <a:rPr kumimoji="0" lang="en-GB" sz="1000" b="1" i="0" u="none" strike="noStrike" kern="1200" cap="none" spc="0" normalizeH="0" baseline="0" noProof="0" dirty="0">
                <a:ln>
                  <a:noFill/>
                </a:ln>
                <a:solidFill>
                  <a:prstClr val="black"/>
                </a:solidFill>
                <a:effectLst/>
                <a:uLnTx/>
                <a:uFillTx/>
                <a:latin typeface="Aptos" panose="02110004020202020204"/>
                <a:ea typeface="+mn-ea"/>
                <a:cs typeface="+mn-cs"/>
              </a:rPr>
              <a:t>committed to perform</a:t>
            </a: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their obligations.</a:t>
            </a:r>
          </a:p>
          <a:p>
            <a:pPr marL="171450" marR="0" lvl="0" indent="-171450" algn="l" defTabSz="914400" rtl="0" eaLnBrk="1" fontAlgn="auto" latinLnBrk="0" hangingPunct="1">
              <a:lnSpc>
                <a:spcPct val="106000"/>
              </a:lnSpc>
              <a:spcBef>
                <a:spcPts val="1800"/>
              </a:spcBef>
              <a:spcAft>
                <a:spcPts val="0"/>
              </a:spcAft>
              <a:buClrTx/>
              <a:buSzPct val="100000"/>
              <a:buFont typeface="Arial" panose="020B0604020202020204" pitchFamily="34" charset="0"/>
              <a:buChar char="•"/>
              <a:tabLst/>
              <a:defRPr/>
            </a:pPr>
            <a:r>
              <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rPr>
              <a:t>Vodafone can </a:t>
            </a:r>
            <a:r>
              <a:rPr kumimoji="0" lang="en-GB" sz="1000" b="1" i="0" u="none" strike="noStrike" kern="1200" cap="none" spc="0" normalizeH="0" baseline="0" noProof="0" dirty="0">
                <a:ln>
                  <a:noFill/>
                </a:ln>
                <a:solidFill>
                  <a:prstClr val="black"/>
                </a:solidFill>
                <a:effectLst/>
                <a:uLnTx/>
                <a:uFillTx/>
                <a:latin typeface="Aptos" panose="02110004020202020204"/>
                <a:ea typeface="+mn-ea"/>
                <a:cs typeface="+mn-cs"/>
              </a:rPr>
              <a:t>identify the payment terms</a:t>
            </a:r>
            <a:r>
              <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rPr>
              <a:t> for the goods or services to be transferred.</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6000"/>
              </a:lnSpc>
              <a:spcBef>
                <a:spcPts val="18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The exchange of promises results in a change in the future cash flows and economic position for both parties, thus demonstrating </a:t>
            </a: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commercial substance</a:t>
            </a:r>
          </a:p>
          <a:p>
            <a:pPr marL="171450" marR="0" lvl="0" indent="-171450" algn="l" defTabSz="914400" rtl="0" eaLnBrk="1" fontAlgn="auto" latinLnBrk="0" hangingPunct="1">
              <a:lnSpc>
                <a:spcPct val="106000"/>
              </a:lnSpc>
              <a:spcBef>
                <a:spcPts val="1800"/>
              </a:spcBef>
              <a:spcAft>
                <a:spcPts val="0"/>
              </a:spcAft>
              <a:buClrTx/>
              <a:buSzPct val="100000"/>
              <a:buFont typeface="Arial" panose="020B0604020202020204" pitchFamily="34" charset="0"/>
              <a:buChar char="•"/>
              <a:tabLst/>
              <a:defRPr/>
            </a:pPr>
            <a:r>
              <a:rPr kumimoji="0" lang="en-GB" sz="1000" b="1" i="0" u="none" strike="noStrike" kern="1200" cap="none" spc="0" normalizeH="0" baseline="0" noProof="0" dirty="0">
                <a:ln>
                  <a:noFill/>
                </a:ln>
                <a:solidFill>
                  <a:prstClr val="black"/>
                </a:solidFill>
                <a:effectLst/>
                <a:uLnTx/>
                <a:uFillTx/>
                <a:latin typeface="Aptos" panose="02110004020202020204"/>
                <a:ea typeface="+mn-ea"/>
                <a:cs typeface="+mn-cs"/>
              </a:rPr>
              <a:t>Vodafone can identify each party’s rights regarding the goods or services to be transferred</a:t>
            </a: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6000"/>
              </a:lnSpc>
              <a:spcBef>
                <a:spcPts val="1800"/>
              </a:spcBef>
              <a:spcAft>
                <a:spcPts val="0"/>
              </a:spcAft>
              <a:buClrTx/>
              <a:buSzPct val="100000"/>
              <a:buFont typeface="Arial" panose="020B0604020202020204" pitchFamily="34" charset="0"/>
              <a:buChar char="•"/>
              <a:tabLst/>
              <a:defRPr/>
            </a:pPr>
            <a:r>
              <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rPr>
              <a:t>Assuming that the customer has the ability and the intention to pay, It is </a:t>
            </a:r>
            <a:r>
              <a:rPr kumimoji="0" lang="en-GB" sz="1000" b="1" i="0" u="none" strike="noStrike" kern="1200" cap="none" spc="0" normalizeH="0" baseline="0" noProof="0" dirty="0">
                <a:ln>
                  <a:noFill/>
                </a:ln>
                <a:solidFill>
                  <a:prstClr val="black"/>
                </a:solidFill>
                <a:effectLst/>
                <a:uLnTx/>
                <a:uFillTx/>
                <a:latin typeface="Aptos" panose="02110004020202020204"/>
                <a:ea typeface="+mn-ea"/>
                <a:cs typeface="+mn-cs"/>
              </a:rPr>
              <a:t>probable that Vodafone will collect the consideration to which it will be entitled in exchange for the goods or services </a:t>
            </a:r>
            <a:r>
              <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rPr>
              <a:t>that will be transferred to the customer</a:t>
            </a:r>
          </a:p>
          <a:p>
            <a:pPr marL="0" marR="0" lvl="0" indent="0" algn="ctr" defTabSz="914400" rtl="0" eaLnBrk="1" fontAlgn="auto" latinLnBrk="0" hangingPunct="1">
              <a:lnSpc>
                <a:spcPct val="106000"/>
              </a:lnSpc>
              <a:spcBef>
                <a:spcPts val="1800"/>
              </a:spcBef>
              <a:spcAft>
                <a:spcPts val="0"/>
              </a:spcAft>
              <a:buClrTx/>
              <a:buSzPct val="100000"/>
              <a:buFont typeface="Wingdings 2" pitchFamily="18" charset="2"/>
              <a:buNone/>
              <a:tabLst/>
              <a:defRPr/>
            </a:pPr>
            <a:endParaRPr kumimoji="0" lang="en-GB" sz="10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C214CCCE-5996-5F46-AAE8-9E8B2CEC697E}"/>
              </a:ext>
            </a:extLst>
          </p:cNvPr>
          <p:cNvSpPr/>
          <p:nvPr/>
        </p:nvSpPr>
        <p:spPr bwMode="gray">
          <a:xfrm>
            <a:off x="464129" y="1646622"/>
            <a:ext cx="10010607" cy="347522"/>
          </a:xfrm>
          <a:prstGeom prst="rect">
            <a:avLst/>
          </a:prstGeom>
          <a:solidFill>
            <a:srgbClr val="FF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ptos" panose="02110004020202020204"/>
                <a:ea typeface="+mn-ea"/>
                <a:cs typeface="+mn-cs"/>
              </a:rPr>
              <a:t>Identification of contract</a:t>
            </a:r>
            <a:endParaRPr kumimoji="0" lang="en-GB" sz="1000" b="0" i="1"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190C7700-3DAD-ED7A-3936-C06CE3C8C75A}"/>
              </a:ext>
            </a:extLst>
          </p:cNvPr>
          <p:cNvSpPr/>
          <p:nvPr/>
        </p:nvSpPr>
        <p:spPr bwMode="gray">
          <a:xfrm>
            <a:off x="251388" y="1027928"/>
            <a:ext cx="11086631" cy="312094"/>
          </a:xfrm>
          <a:prstGeom prst="rect">
            <a:avLst/>
          </a:prstGeom>
          <a:noFill/>
          <a:ln w="19050" algn="ctr">
            <a:solidFill>
              <a:schemeClr val="bg1"/>
            </a:solidFill>
            <a:miter lim="800000"/>
            <a:headEnd/>
            <a:tailEnd/>
          </a:ln>
        </p:spPr>
        <p:txBody>
          <a:bodyPr wrap="square" lIns="457200" tIns="88900" rIns="88900" bIns="88900" rtlCol="0" anchor="ct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AF07139F-452B-B215-CD45-644A84DAACA1}"/>
              </a:ext>
            </a:extLst>
          </p:cNvPr>
          <p:cNvSpPr txBox="1"/>
          <p:nvPr/>
        </p:nvSpPr>
        <p:spPr>
          <a:xfrm>
            <a:off x="460724" y="1022046"/>
            <a:ext cx="10877296"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The standard defines a ‘</a:t>
            </a:r>
            <a:r>
              <a:rPr kumimoji="0" lang="en-GB" sz="1200" b="1" i="0" u="none" strike="noStrike" kern="1200" cap="none" spc="0" normalizeH="0" baseline="0" noProof="0" dirty="0">
                <a:ln>
                  <a:noFill/>
                </a:ln>
                <a:solidFill>
                  <a:prstClr val="black"/>
                </a:solidFill>
                <a:effectLst/>
                <a:uLnTx/>
                <a:uFillTx/>
                <a:latin typeface="Aptos" panose="02110004020202020204"/>
                <a:ea typeface="+mn-ea"/>
                <a:cs typeface="+mn-cs"/>
              </a:rPr>
              <a:t>contract</a:t>
            </a: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 as an agreement between </a:t>
            </a:r>
            <a:r>
              <a:rPr kumimoji="0" lang="en-GB" sz="1200" b="1" i="0" u="none" strike="noStrike" kern="1200" cap="none" spc="0" normalizeH="0" baseline="0" noProof="0" dirty="0">
                <a:ln>
                  <a:noFill/>
                </a:ln>
                <a:solidFill>
                  <a:prstClr val="black"/>
                </a:solidFill>
                <a:effectLst/>
                <a:uLnTx/>
                <a:uFillTx/>
                <a:latin typeface="Aptos" panose="02110004020202020204"/>
                <a:ea typeface="+mn-ea"/>
                <a:cs typeface="+mn-cs"/>
              </a:rPr>
              <a:t>two or more parties</a:t>
            </a: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 that creates </a:t>
            </a:r>
            <a:r>
              <a:rPr kumimoji="0" lang="en-GB" sz="1200" b="1" i="0" u="none" strike="noStrike" kern="1200" cap="none" spc="0" normalizeH="0" baseline="0" noProof="0" dirty="0">
                <a:ln>
                  <a:noFill/>
                </a:ln>
                <a:solidFill>
                  <a:prstClr val="black"/>
                </a:solidFill>
                <a:effectLst/>
                <a:uLnTx/>
                <a:uFillTx/>
                <a:latin typeface="Aptos" panose="02110004020202020204"/>
                <a:ea typeface="+mn-ea"/>
                <a:cs typeface="+mn-cs"/>
              </a:rPr>
              <a:t>enforceable rights and obligations</a:t>
            </a: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 and specifies th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enforceability is a matter of law. A legally enforceable contract  must meet </a:t>
            </a:r>
            <a:r>
              <a:rPr kumimoji="0" lang="en-GB" sz="1200" b="1" i="0" u="none" strike="noStrike" kern="1200" cap="none" spc="0" normalizeH="0" baseline="0" noProof="0" dirty="0">
                <a:ln>
                  <a:noFill/>
                </a:ln>
                <a:solidFill>
                  <a:prstClr val="black"/>
                </a:solidFill>
                <a:effectLst/>
                <a:uLnTx/>
                <a:uFillTx/>
                <a:latin typeface="Aptos" panose="02110004020202020204"/>
                <a:ea typeface="+mn-ea"/>
                <a:cs typeface="+mn-cs"/>
              </a:rPr>
              <a:t>all</a:t>
            </a: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 of the following requirements to be accounted for under five-step model:</a:t>
            </a:r>
            <a:endParaRPr kumimoji="0" lang="en-GB" sz="1000" b="0" i="1" u="none" strike="noStrike" kern="1200" cap="none" spc="0" normalizeH="0" baseline="0" noProof="0" dirty="0">
              <a:ln>
                <a:noFill/>
              </a:ln>
              <a:solidFill>
                <a:prstClr val="black"/>
              </a:solidFill>
              <a:effectLst/>
              <a:uLnTx/>
              <a:uFillTx/>
              <a:latin typeface="Aptos" panose="02110004020202020204"/>
              <a:ea typeface="+mn-ea"/>
              <a:cs typeface="Calibri Light" panose="020F0302020204030204" pitchFamily="34" charset="0"/>
            </a:endParaRPr>
          </a:p>
        </p:txBody>
      </p:sp>
      <p:sp>
        <p:nvSpPr>
          <p:cNvPr id="6" name="TextBox 5">
            <a:extLst>
              <a:ext uri="{FF2B5EF4-FFF2-40B4-BE49-F238E27FC236}">
                <a16:creationId xmlns:a16="http://schemas.microsoft.com/office/drawing/2014/main" id="{9170B44B-24A3-426C-1DE3-B0480F36D2BB}"/>
              </a:ext>
            </a:extLst>
          </p:cNvPr>
          <p:cNvSpPr txBox="1">
            <a:spLocks/>
          </p:cNvSpPr>
          <p:nvPr/>
        </p:nvSpPr>
        <p:spPr>
          <a:xfrm>
            <a:off x="424577" y="4739804"/>
            <a:ext cx="10056495" cy="791951"/>
          </a:xfrm>
          <a:prstGeom prst="roundRect">
            <a:avLst>
              <a:gd name="adj" fmla="val 9761"/>
            </a:avLst>
          </a:prstGeom>
          <a:solidFill>
            <a:schemeClr val="bg1">
              <a:lumMod val="95000"/>
            </a:schemeClr>
          </a:solidFill>
          <a:ln w="19050" algn="ctr">
            <a:noFill/>
            <a:miter lim="800000"/>
            <a:headEnd/>
            <a:tailEnd/>
          </a:ln>
        </p:spPr>
        <p:txBody>
          <a:bodyPr wrap="square" lIns="548640" tIns="88900" rIns="88900" bIns="88900" rtlCol="0" anchor="ctr"/>
          <a:lstStyle>
            <a:defPPr>
              <a:defRPr lang="en-US"/>
            </a:defPPr>
            <a:lvl1pPr algn="ctr">
              <a:lnSpc>
                <a:spcPct val="106000"/>
              </a:lnSpc>
              <a:buFont typeface="Wingdings 2" pitchFamily="18" charset="2"/>
              <a:buNone/>
              <a:defRPr sz="1600" b="1">
                <a:solidFill>
                  <a:schemeClr val="bg1"/>
                </a:solidFill>
              </a:defRPr>
            </a:lvl1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While DLM contract and the mobile communications contract are "essentially two separate contracts, the discount suggest they are negotiated with a single commercial objective of providing a complete mobile solution. The (price) i.e. 10% discount for the mobile phone contract is directly dependent on the customer also entering into the DLM contract.</a:t>
            </a:r>
          </a:p>
        </p:txBody>
      </p:sp>
      <p:sp>
        <p:nvSpPr>
          <p:cNvPr id="9" name="Rectangle 8">
            <a:extLst>
              <a:ext uri="{FF2B5EF4-FFF2-40B4-BE49-F238E27FC236}">
                <a16:creationId xmlns:a16="http://schemas.microsoft.com/office/drawing/2014/main" id="{974EFBA8-4AC1-B0B3-9941-169AEDD82CAA}"/>
              </a:ext>
            </a:extLst>
          </p:cNvPr>
          <p:cNvSpPr/>
          <p:nvPr/>
        </p:nvSpPr>
        <p:spPr bwMode="gray">
          <a:xfrm>
            <a:off x="424577" y="4470449"/>
            <a:ext cx="10056495" cy="290289"/>
          </a:xfrm>
          <a:prstGeom prst="rect">
            <a:avLst/>
          </a:prstGeom>
          <a:solidFill>
            <a:srgbClr val="FF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ptos" panose="02110004020202020204"/>
                <a:ea typeface="+mn-ea"/>
                <a:cs typeface="+mn-cs"/>
              </a:rPr>
              <a:t>Combination of Contracts</a:t>
            </a:r>
            <a:endParaRPr kumimoji="0" lang="en-GB" sz="1000" b="0" i="1"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4" name="Frame 3">
            <a:extLst>
              <a:ext uri="{FF2B5EF4-FFF2-40B4-BE49-F238E27FC236}">
                <a16:creationId xmlns:a16="http://schemas.microsoft.com/office/drawing/2014/main" id="{BF654DA6-EDD0-D9BC-848E-B2E0DFF292E9}"/>
              </a:ext>
            </a:extLst>
          </p:cNvPr>
          <p:cNvSpPr/>
          <p:nvPr/>
        </p:nvSpPr>
        <p:spPr bwMode="gray">
          <a:xfrm>
            <a:off x="10827254" y="1451968"/>
            <a:ext cx="1021529" cy="4044153"/>
          </a:xfrm>
          <a:prstGeom prst="frame">
            <a:avLst>
              <a:gd name="adj1" fmla="val 6224"/>
            </a:avLst>
          </a:prstGeom>
          <a:solidFill>
            <a:schemeClr val="tx1"/>
          </a:solidFill>
          <a:ln w="19050" algn="ctr">
            <a:noFill/>
            <a:miter lim="800000"/>
            <a:headEnd/>
            <a:tailEnd/>
          </a:ln>
        </p:spPr>
        <p:txBody>
          <a:bodyPr wrap="square" lIns="0" tIns="1371600" rIns="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1200" cap="none" spc="0" normalizeH="0" baseline="0" noProof="0" dirty="0">
                <a:ln>
                  <a:noFill/>
                </a:ln>
                <a:solidFill>
                  <a:srgbClr val="FF0000"/>
                </a:solidFill>
                <a:effectLst/>
                <a:uLnTx/>
                <a:uFillTx/>
                <a:latin typeface="Aptos" panose="02110004020202020204"/>
                <a:ea typeface="+mn-ea"/>
                <a:cs typeface="+mn-cs"/>
              </a:rPr>
              <a:t>Step 1</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Identify the contract</a:t>
            </a:r>
          </a:p>
        </p:txBody>
      </p:sp>
      <p:grpSp>
        <p:nvGrpSpPr>
          <p:cNvPr id="7" name="Group 6">
            <a:extLst>
              <a:ext uri="{FF2B5EF4-FFF2-40B4-BE49-F238E27FC236}">
                <a16:creationId xmlns:a16="http://schemas.microsoft.com/office/drawing/2014/main" id="{2CB3056D-A7E8-AEC0-2202-74A0DA0A29E6}"/>
              </a:ext>
            </a:extLst>
          </p:cNvPr>
          <p:cNvGrpSpPr/>
          <p:nvPr/>
        </p:nvGrpSpPr>
        <p:grpSpPr>
          <a:xfrm>
            <a:off x="10875131" y="2099088"/>
            <a:ext cx="829784" cy="640642"/>
            <a:chOff x="10782426" y="1885737"/>
            <a:chExt cx="829784" cy="640642"/>
          </a:xfrm>
        </p:grpSpPr>
        <p:sp>
          <p:nvSpPr>
            <p:cNvPr id="8" name="Freeform: Shape 7">
              <a:extLst>
                <a:ext uri="{FF2B5EF4-FFF2-40B4-BE49-F238E27FC236}">
                  <a16:creationId xmlns:a16="http://schemas.microsoft.com/office/drawing/2014/main" id="{4BC0BAF1-AD5D-CA55-100D-C7281BE8535E}"/>
                </a:ext>
              </a:extLst>
            </p:cNvPr>
            <p:cNvSpPr/>
            <p:nvPr/>
          </p:nvSpPr>
          <p:spPr>
            <a:xfrm>
              <a:off x="10782426" y="1885737"/>
              <a:ext cx="647574" cy="631597"/>
            </a:xfrm>
            <a:custGeom>
              <a:avLst/>
              <a:gdLst>
                <a:gd name="connsiteX0" fmla="*/ 1907974 w 1955391"/>
                <a:gd name="connsiteY0" fmla="*/ 1704304 h 1907148"/>
                <a:gd name="connsiteX1" fmla="*/ 1892206 w 1955391"/>
                <a:gd name="connsiteY1" fmla="*/ 1871292 h 1907148"/>
                <a:gd name="connsiteX2" fmla="*/ 612150 w 1955391"/>
                <a:gd name="connsiteY2" fmla="*/ 1906580 h 1907148"/>
                <a:gd name="connsiteX3" fmla="*/ 550741 w 1955391"/>
                <a:gd name="connsiteY3" fmla="*/ 1901862 h 1907148"/>
                <a:gd name="connsiteX4" fmla="*/ 490930 w 1955391"/>
                <a:gd name="connsiteY4" fmla="*/ 1865799 h 1907148"/>
                <a:gd name="connsiteX5" fmla="*/ 274390 w 1955391"/>
                <a:gd name="connsiteY5" fmla="*/ 336194 h 1907148"/>
                <a:gd name="connsiteX6" fmla="*/ 35448 w 1955391"/>
                <a:gd name="connsiteY6" fmla="*/ 164266 h 1907148"/>
                <a:gd name="connsiteX7" fmla="*/ 334754 w 1955391"/>
                <a:gd name="connsiteY7" fmla="*/ 14169 h 1907148"/>
                <a:gd name="connsiteX8" fmla="*/ 1559844 w 1955391"/>
                <a:gd name="connsiteY8" fmla="*/ 253048 h 1907148"/>
                <a:gd name="connsiteX9" fmla="*/ 1741999 w 1955391"/>
                <a:gd name="connsiteY9" fmla="*/ 1556914 h 1907148"/>
                <a:gd name="connsiteX10" fmla="*/ 1781640 w 1955391"/>
                <a:gd name="connsiteY10" fmla="*/ 1619479 h 1907148"/>
                <a:gd name="connsiteX11" fmla="*/ 1887457 w 1955391"/>
                <a:gd name="connsiteY11" fmla="*/ 1684087 h 1907148"/>
                <a:gd name="connsiteX12" fmla="*/ 1907974 w 1955391"/>
                <a:gd name="connsiteY12" fmla="*/ 1704304 h 19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5391" h="1907148">
                  <a:moveTo>
                    <a:pt x="1907974" y="1704304"/>
                  </a:moveTo>
                  <a:cubicBezTo>
                    <a:pt x="1904412" y="1752747"/>
                    <a:pt x="2026503" y="1819191"/>
                    <a:pt x="1892206" y="1871292"/>
                  </a:cubicBezTo>
                  <a:cubicBezTo>
                    <a:pt x="1788638" y="1911472"/>
                    <a:pt x="875203" y="1812732"/>
                    <a:pt x="612150" y="1906580"/>
                  </a:cubicBezTo>
                  <a:cubicBezTo>
                    <a:pt x="604836" y="1909192"/>
                    <a:pt x="551184" y="1901957"/>
                    <a:pt x="550741" y="1901862"/>
                  </a:cubicBezTo>
                  <a:cubicBezTo>
                    <a:pt x="550725" y="1901862"/>
                    <a:pt x="509009" y="1887171"/>
                    <a:pt x="490930" y="1865799"/>
                  </a:cubicBezTo>
                  <a:cubicBezTo>
                    <a:pt x="383942" y="1739275"/>
                    <a:pt x="349810" y="528845"/>
                    <a:pt x="274390" y="336194"/>
                  </a:cubicBezTo>
                  <a:cubicBezTo>
                    <a:pt x="228035" y="217760"/>
                    <a:pt x="82957" y="166672"/>
                    <a:pt x="35448" y="164266"/>
                  </a:cubicBezTo>
                  <a:cubicBezTo>
                    <a:pt x="-93197" y="157743"/>
                    <a:pt x="156431" y="14644"/>
                    <a:pt x="334754" y="14169"/>
                  </a:cubicBezTo>
                  <a:cubicBezTo>
                    <a:pt x="513094" y="13726"/>
                    <a:pt x="1423790" y="-86597"/>
                    <a:pt x="1559844" y="253048"/>
                  </a:cubicBezTo>
                  <a:cubicBezTo>
                    <a:pt x="1636942" y="445509"/>
                    <a:pt x="1659945" y="1312954"/>
                    <a:pt x="1741999" y="1556914"/>
                  </a:cubicBezTo>
                  <a:cubicBezTo>
                    <a:pt x="1753777" y="1591965"/>
                    <a:pt x="1766870" y="1614097"/>
                    <a:pt x="1781640" y="1619479"/>
                  </a:cubicBezTo>
                  <a:cubicBezTo>
                    <a:pt x="1863852" y="1649385"/>
                    <a:pt x="1823467" y="1709955"/>
                    <a:pt x="1887457" y="1684087"/>
                  </a:cubicBezTo>
                  <a:cubicBezTo>
                    <a:pt x="1915067" y="1672894"/>
                    <a:pt x="1909051" y="1689691"/>
                    <a:pt x="1907974" y="1704304"/>
                  </a:cubicBezTo>
                  <a:close/>
                </a:path>
              </a:pathLst>
            </a:custGeom>
            <a:solidFill>
              <a:schemeClr val="bg1">
                <a:lumMod val="95000"/>
              </a:scheme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10" name="Group 9">
              <a:extLst>
                <a:ext uri="{FF2B5EF4-FFF2-40B4-BE49-F238E27FC236}">
                  <a16:creationId xmlns:a16="http://schemas.microsoft.com/office/drawing/2014/main" id="{63AB8FA7-F5FA-5814-DBCC-6942F41983FF}"/>
                </a:ext>
              </a:extLst>
            </p:cNvPr>
            <p:cNvGrpSpPr/>
            <p:nvPr/>
          </p:nvGrpSpPr>
          <p:grpSpPr>
            <a:xfrm>
              <a:off x="10931289" y="1979667"/>
              <a:ext cx="680921" cy="546712"/>
              <a:chOff x="10931289" y="1979667"/>
              <a:chExt cx="680921" cy="546712"/>
            </a:xfrm>
          </p:grpSpPr>
          <p:sp>
            <p:nvSpPr>
              <p:cNvPr id="12" name="Freeform: Shape 11">
                <a:extLst>
                  <a:ext uri="{FF2B5EF4-FFF2-40B4-BE49-F238E27FC236}">
                    <a16:creationId xmlns:a16="http://schemas.microsoft.com/office/drawing/2014/main" id="{DD385550-A8FB-0F85-5E97-8A292EDFD6AF}"/>
                  </a:ext>
                </a:extLst>
              </p:cNvPr>
              <p:cNvSpPr/>
              <p:nvPr/>
            </p:nvSpPr>
            <p:spPr>
              <a:xfrm>
                <a:off x="10964827" y="2415472"/>
                <a:ext cx="485505" cy="110907"/>
              </a:xfrm>
              <a:custGeom>
                <a:avLst/>
                <a:gdLst>
                  <a:gd name="connsiteX0" fmla="*/ 1352152 w 1466013"/>
                  <a:gd name="connsiteY0" fmla="*/ 6836 h 334892"/>
                  <a:gd name="connsiteX1" fmla="*/ 1323624 w 1466013"/>
                  <a:gd name="connsiteY1" fmla="*/ 317145 h 334892"/>
                  <a:gd name="connsiteX2" fmla="*/ 0 w 1466013"/>
                  <a:gd name="connsiteY2" fmla="*/ 302295 h 334892"/>
                  <a:gd name="connsiteX3" fmla="*/ 167115 w 1466013"/>
                  <a:gd name="connsiteY3" fmla="*/ 227983 h 334892"/>
                  <a:gd name="connsiteX4" fmla="*/ 123437 w 1466013"/>
                  <a:gd name="connsiteY4" fmla="*/ 4762 h 334892"/>
                  <a:gd name="connsiteX5" fmla="*/ 1352167 w 1466013"/>
                  <a:gd name="connsiteY5" fmla="*/ 6836 h 33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6013" h="334892">
                    <a:moveTo>
                      <a:pt x="1352152" y="6836"/>
                    </a:moveTo>
                    <a:cubicBezTo>
                      <a:pt x="1573283" y="89206"/>
                      <a:pt x="1421113" y="318332"/>
                      <a:pt x="1323624" y="317145"/>
                    </a:cubicBezTo>
                    <a:cubicBezTo>
                      <a:pt x="1212535" y="315783"/>
                      <a:pt x="284520" y="366523"/>
                      <a:pt x="0" y="302295"/>
                    </a:cubicBezTo>
                    <a:cubicBezTo>
                      <a:pt x="13409" y="305319"/>
                      <a:pt x="82386" y="301535"/>
                      <a:pt x="167115" y="227983"/>
                    </a:cubicBezTo>
                    <a:cubicBezTo>
                      <a:pt x="254741" y="151898"/>
                      <a:pt x="200868" y="31453"/>
                      <a:pt x="123437" y="4762"/>
                    </a:cubicBezTo>
                    <a:cubicBezTo>
                      <a:pt x="88956" y="-7112"/>
                      <a:pt x="1337983" y="6978"/>
                      <a:pt x="1352167" y="6836"/>
                    </a:cubicBezTo>
                    <a:close/>
                  </a:path>
                </a:pathLst>
              </a:custGeom>
              <a:solidFill>
                <a:srgbClr val="818187"/>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13" name="Graphic 3">
                <a:extLst>
                  <a:ext uri="{FF2B5EF4-FFF2-40B4-BE49-F238E27FC236}">
                    <a16:creationId xmlns:a16="http://schemas.microsoft.com/office/drawing/2014/main" id="{19CD72A0-9BA0-4623-433F-661F9D63D5C3}"/>
                  </a:ext>
                </a:extLst>
              </p:cNvPr>
              <p:cNvGrpSpPr/>
              <p:nvPr/>
            </p:nvGrpSpPr>
            <p:grpSpPr>
              <a:xfrm>
                <a:off x="10931289" y="2024538"/>
                <a:ext cx="364214" cy="300933"/>
                <a:chOff x="11208937" y="2052193"/>
                <a:chExt cx="1099768" cy="908685"/>
              </a:xfrm>
              <a:solidFill>
                <a:srgbClr val="3B3B4C">
                  <a:alpha val="75000"/>
                </a:srgbClr>
              </a:solidFill>
            </p:grpSpPr>
            <p:sp>
              <p:nvSpPr>
                <p:cNvPr id="71" name="Freeform: Shape 70">
                  <a:extLst>
                    <a:ext uri="{FF2B5EF4-FFF2-40B4-BE49-F238E27FC236}">
                      <a16:creationId xmlns:a16="http://schemas.microsoft.com/office/drawing/2014/main" id="{BB5110E9-7500-07BF-1C0A-895A14B6B253}"/>
                    </a:ext>
                  </a:extLst>
                </p:cNvPr>
                <p:cNvSpPr/>
                <p:nvPr/>
              </p:nvSpPr>
              <p:spPr>
                <a:xfrm>
                  <a:off x="11208937" y="2052193"/>
                  <a:ext cx="1026834" cy="42222"/>
                </a:xfrm>
                <a:custGeom>
                  <a:avLst/>
                  <a:gdLst>
                    <a:gd name="connsiteX0" fmla="*/ 0 w 1026834"/>
                    <a:gd name="connsiteY0" fmla="*/ 0 h 42222"/>
                    <a:gd name="connsiteX1" fmla="*/ 1026834 w 1026834"/>
                    <a:gd name="connsiteY1" fmla="*/ 0 h 42222"/>
                    <a:gd name="connsiteX2" fmla="*/ 1026834 w 1026834"/>
                    <a:gd name="connsiteY2" fmla="*/ 42222 h 42222"/>
                    <a:gd name="connsiteX3" fmla="*/ 0 w 1026834"/>
                    <a:gd name="connsiteY3" fmla="*/ 42222 h 42222"/>
                  </a:gdLst>
                  <a:ahLst/>
                  <a:cxnLst>
                    <a:cxn ang="0">
                      <a:pos x="connsiteX0" y="connsiteY0"/>
                    </a:cxn>
                    <a:cxn ang="0">
                      <a:pos x="connsiteX1" y="connsiteY1"/>
                    </a:cxn>
                    <a:cxn ang="0">
                      <a:pos x="connsiteX2" y="connsiteY2"/>
                    </a:cxn>
                    <a:cxn ang="0">
                      <a:pos x="connsiteX3" y="connsiteY3"/>
                    </a:cxn>
                  </a:cxnLst>
                  <a:rect l="l" t="t" r="r" b="b"/>
                  <a:pathLst>
                    <a:path w="1026834" h="42222">
                      <a:moveTo>
                        <a:pt x="0" y="0"/>
                      </a:moveTo>
                      <a:lnTo>
                        <a:pt x="1026834" y="0"/>
                      </a:lnTo>
                      <a:lnTo>
                        <a:pt x="1026834" y="42222"/>
                      </a:lnTo>
                      <a:lnTo>
                        <a:pt x="0" y="42222"/>
                      </a:lnTo>
                      <a:close/>
                    </a:path>
                  </a:pathLst>
                </a:custGeom>
                <a:solidFill>
                  <a:srgbClr val="3B3B4C">
                    <a:alpha val="75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2" name="Freeform: Shape 71">
                  <a:extLst>
                    <a:ext uri="{FF2B5EF4-FFF2-40B4-BE49-F238E27FC236}">
                      <a16:creationId xmlns:a16="http://schemas.microsoft.com/office/drawing/2014/main" id="{1A5F4781-2B49-457C-95BC-3E0AF891AA40}"/>
                    </a:ext>
                  </a:extLst>
                </p:cNvPr>
                <p:cNvSpPr/>
                <p:nvPr/>
              </p:nvSpPr>
              <p:spPr>
                <a:xfrm>
                  <a:off x="11223723" y="2189799"/>
                  <a:ext cx="1026834" cy="42222"/>
                </a:xfrm>
                <a:custGeom>
                  <a:avLst/>
                  <a:gdLst>
                    <a:gd name="connsiteX0" fmla="*/ 0 w 1026834"/>
                    <a:gd name="connsiteY0" fmla="*/ 0 h 42222"/>
                    <a:gd name="connsiteX1" fmla="*/ 1026834 w 1026834"/>
                    <a:gd name="connsiteY1" fmla="*/ 0 h 42222"/>
                    <a:gd name="connsiteX2" fmla="*/ 1026834 w 1026834"/>
                    <a:gd name="connsiteY2" fmla="*/ 42222 h 42222"/>
                    <a:gd name="connsiteX3" fmla="*/ 0 w 1026834"/>
                    <a:gd name="connsiteY3" fmla="*/ 42222 h 42222"/>
                  </a:gdLst>
                  <a:ahLst/>
                  <a:cxnLst>
                    <a:cxn ang="0">
                      <a:pos x="connsiteX0" y="connsiteY0"/>
                    </a:cxn>
                    <a:cxn ang="0">
                      <a:pos x="connsiteX1" y="connsiteY1"/>
                    </a:cxn>
                    <a:cxn ang="0">
                      <a:pos x="connsiteX2" y="connsiteY2"/>
                    </a:cxn>
                    <a:cxn ang="0">
                      <a:pos x="connsiteX3" y="connsiteY3"/>
                    </a:cxn>
                  </a:cxnLst>
                  <a:rect l="l" t="t" r="r" b="b"/>
                  <a:pathLst>
                    <a:path w="1026834" h="42222">
                      <a:moveTo>
                        <a:pt x="0" y="0"/>
                      </a:moveTo>
                      <a:lnTo>
                        <a:pt x="1026834" y="0"/>
                      </a:lnTo>
                      <a:lnTo>
                        <a:pt x="1026834" y="42222"/>
                      </a:lnTo>
                      <a:lnTo>
                        <a:pt x="0" y="42222"/>
                      </a:lnTo>
                      <a:close/>
                    </a:path>
                  </a:pathLst>
                </a:custGeom>
                <a:solidFill>
                  <a:srgbClr val="3B3B4C">
                    <a:alpha val="75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3" name="Freeform: Shape 72">
                  <a:extLst>
                    <a:ext uri="{FF2B5EF4-FFF2-40B4-BE49-F238E27FC236}">
                      <a16:creationId xmlns:a16="http://schemas.microsoft.com/office/drawing/2014/main" id="{CC568675-E93C-8A7A-72CD-6DF7614B46FD}"/>
                    </a:ext>
                  </a:extLst>
                </p:cNvPr>
                <p:cNvSpPr/>
                <p:nvPr/>
              </p:nvSpPr>
              <p:spPr>
                <a:xfrm>
                  <a:off x="11237354" y="2313220"/>
                  <a:ext cx="1026834" cy="42222"/>
                </a:xfrm>
                <a:custGeom>
                  <a:avLst/>
                  <a:gdLst>
                    <a:gd name="connsiteX0" fmla="*/ 0 w 1026834"/>
                    <a:gd name="connsiteY0" fmla="*/ 0 h 42222"/>
                    <a:gd name="connsiteX1" fmla="*/ 1026834 w 1026834"/>
                    <a:gd name="connsiteY1" fmla="*/ 0 h 42222"/>
                    <a:gd name="connsiteX2" fmla="*/ 1026834 w 1026834"/>
                    <a:gd name="connsiteY2" fmla="*/ 42222 h 42222"/>
                    <a:gd name="connsiteX3" fmla="*/ 0 w 1026834"/>
                    <a:gd name="connsiteY3" fmla="*/ 42222 h 42222"/>
                  </a:gdLst>
                  <a:ahLst/>
                  <a:cxnLst>
                    <a:cxn ang="0">
                      <a:pos x="connsiteX0" y="connsiteY0"/>
                    </a:cxn>
                    <a:cxn ang="0">
                      <a:pos x="connsiteX1" y="connsiteY1"/>
                    </a:cxn>
                    <a:cxn ang="0">
                      <a:pos x="connsiteX2" y="connsiteY2"/>
                    </a:cxn>
                    <a:cxn ang="0">
                      <a:pos x="connsiteX3" y="connsiteY3"/>
                    </a:cxn>
                  </a:cxnLst>
                  <a:rect l="l" t="t" r="r" b="b"/>
                  <a:pathLst>
                    <a:path w="1026834" h="42222">
                      <a:moveTo>
                        <a:pt x="0" y="0"/>
                      </a:moveTo>
                      <a:lnTo>
                        <a:pt x="1026834" y="0"/>
                      </a:lnTo>
                      <a:lnTo>
                        <a:pt x="1026834" y="42222"/>
                      </a:lnTo>
                      <a:lnTo>
                        <a:pt x="0" y="42222"/>
                      </a:lnTo>
                      <a:close/>
                    </a:path>
                  </a:pathLst>
                </a:custGeom>
                <a:solidFill>
                  <a:srgbClr val="3B3B4C">
                    <a:alpha val="75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4" name="Freeform: Shape 73">
                  <a:extLst>
                    <a:ext uri="{FF2B5EF4-FFF2-40B4-BE49-F238E27FC236}">
                      <a16:creationId xmlns:a16="http://schemas.microsoft.com/office/drawing/2014/main" id="{AC3D8464-2ECE-2E52-57C5-EF6200785111}"/>
                    </a:ext>
                  </a:extLst>
                </p:cNvPr>
                <p:cNvSpPr/>
                <p:nvPr/>
              </p:nvSpPr>
              <p:spPr>
                <a:xfrm>
                  <a:off x="11247328" y="2458931"/>
                  <a:ext cx="1026834" cy="42222"/>
                </a:xfrm>
                <a:custGeom>
                  <a:avLst/>
                  <a:gdLst>
                    <a:gd name="connsiteX0" fmla="*/ 0 w 1026834"/>
                    <a:gd name="connsiteY0" fmla="*/ 0 h 42222"/>
                    <a:gd name="connsiteX1" fmla="*/ 1026834 w 1026834"/>
                    <a:gd name="connsiteY1" fmla="*/ 0 h 42222"/>
                    <a:gd name="connsiteX2" fmla="*/ 1026834 w 1026834"/>
                    <a:gd name="connsiteY2" fmla="*/ 42222 h 42222"/>
                    <a:gd name="connsiteX3" fmla="*/ 0 w 1026834"/>
                    <a:gd name="connsiteY3" fmla="*/ 42222 h 42222"/>
                  </a:gdLst>
                  <a:ahLst/>
                  <a:cxnLst>
                    <a:cxn ang="0">
                      <a:pos x="connsiteX0" y="connsiteY0"/>
                    </a:cxn>
                    <a:cxn ang="0">
                      <a:pos x="connsiteX1" y="connsiteY1"/>
                    </a:cxn>
                    <a:cxn ang="0">
                      <a:pos x="connsiteX2" y="connsiteY2"/>
                    </a:cxn>
                    <a:cxn ang="0">
                      <a:pos x="connsiteX3" y="connsiteY3"/>
                    </a:cxn>
                  </a:cxnLst>
                  <a:rect l="l" t="t" r="r" b="b"/>
                  <a:pathLst>
                    <a:path w="1026834" h="42222">
                      <a:moveTo>
                        <a:pt x="0" y="0"/>
                      </a:moveTo>
                      <a:lnTo>
                        <a:pt x="1026834" y="0"/>
                      </a:lnTo>
                      <a:lnTo>
                        <a:pt x="1026834" y="42222"/>
                      </a:lnTo>
                      <a:lnTo>
                        <a:pt x="0" y="42222"/>
                      </a:lnTo>
                      <a:close/>
                    </a:path>
                  </a:pathLst>
                </a:custGeom>
                <a:solidFill>
                  <a:srgbClr val="3B3B4C">
                    <a:alpha val="75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5" name="Freeform: Shape 74">
                  <a:extLst>
                    <a:ext uri="{FF2B5EF4-FFF2-40B4-BE49-F238E27FC236}">
                      <a16:creationId xmlns:a16="http://schemas.microsoft.com/office/drawing/2014/main" id="{1F4207FC-495F-0248-7281-70D86C2BAE40}"/>
                    </a:ext>
                  </a:extLst>
                </p:cNvPr>
                <p:cNvSpPr/>
                <p:nvPr/>
              </p:nvSpPr>
              <p:spPr>
                <a:xfrm>
                  <a:off x="11265771" y="2604658"/>
                  <a:ext cx="1026834" cy="42222"/>
                </a:xfrm>
                <a:custGeom>
                  <a:avLst/>
                  <a:gdLst>
                    <a:gd name="connsiteX0" fmla="*/ 0 w 1026834"/>
                    <a:gd name="connsiteY0" fmla="*/ 0 h 42222"/>
                    <a:gd name="connsiteX1" fmla="*/ 1026834 w 1026834"/>
                    <a:gd name="connsiteY1" fmla="*/ 0 h 42222"/>
                    <a:gd name="connsiteX2" fmla="*/ 1026834 w 1026834"/>
                    <a:gd name="connsiteY2" fmla="*/ 42222 h 42222"/>
                    <a:gd name="connsiteX3" fmla="*/ 0 w 1026834"/>
                    <a:gd name="connsiteY3" fmla="*/ 42222 h 42222"/>
                  </a:gdLst>
                  <a:ahLst/>
                  <a:cxnLst>
                    <a:cxn ang="0">
                      <a:pos x="connsiteX0" y="connsiteY0"/>
                    </a:cxn>
                    <a:cxn ang="0">
                      <a:pos x="connsiteX1" y="connsiteY1"/>
                    </a:cxn>
                    <a:cxn ang="0">
                      <a:pos x="connsiteX2" y="connsiteY2"/>
                    </a:cxn>
                    <a:cxn ang="0">
                      <a:pos x="connsiteX3" y="connsiteY3"/>
                    </a:cxn>
                  </a:cxnLst>
                  <a:rect l="l" t="t" r="r" b="b"/>
                  <a:pathLst>
                    <a:path w="1026834" h="42222">
                      <a:moveTo>
                        <a:pt x="0" y="0"/>
                      </a:moveTo>
                      <a:lnTo>
                        <a:pt x="1026834" y="0"/>
                      </a:lnTo>
                      <a:lnTo>
                        <a:pt x="1026834" y="42222"/>
                      </a:lnTo>
                      <a:lnTo>
                        <a:pt x="0" y="42222"/>
                      </a:lnTo>
                      <a:close/>
                    </a:path>
                  </a:pathLst>
                </a:custGeom>
                <a:solidFill>
                  <a:srgbClr val="3B3B4C">
                    <a:alpha val="75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6" name="Freeform: Shape 75">
                  <a:extLst>
                    <a:ext uri="{FF2B5EF4-FFF2-40B4-BE49-F238E27FC236}">
                      <a16:creationId xmlns:a16="http://schemas.microsoft.com/office/drawing/2014/main" id="{CDCEB42C-8447-C44C-E5DA-2CBBF8189B0F}"/>
                    </a:ext>
                  </a:extLst>
                </p:cNvPr>
                <p:cNvSpPr/>
                <p:nvPr/>
              </p:nvSpPr>
              <p:spPr>
                <a:xfrm>
                  <a:off x="11281871" y="2764681"/>
                  <a:ext cx="1026834" cy="42222"/>
                </a:xfrm>
                <a:custGeom>
                  <a:avLst/>
                  <a:gdLst>
                    <a:gd name="connsiteX0" fmla="*/ 0 w 1026834"/>
                    <a:gd name="connsiteY0" fmla="*/ 0 h 42222"/>
                    <a:gd name="connsiteX1" fmla="*/ 1026834 w 1026834"/>
                    <a:gd name="connsiteY1" fmla="*/ 0 h 42222"/>
                    <a:gd name="connsiteX2" fmla="*/ 1026834 w 1026834"/>
                    <a:gd name="connsiteY2" fmla="*/ 42222 h 42222"/>
                    <a:gd name="connsiteX3" fmla="*/ 0 w 1026834"/>
                    <a:gd name="connsiteY3" fmla="*/ 42222 h 42222"/>
                  </a:gdLst>
                  <a:ahLst/>
                  <a:cxnLst>
                    <a:cxn ang="0">
                      <a:pos x="connsiteX0" y="connsiteY0"/>
                    </a:cxn>
                    <a:cxn ang="0">
                      <a:pos x="connsiteX1" y="connsiteY1"/>
                    </a:cxn>
                    <a:cxn ang="0">
                      <a:pos x="connsiteX2" y="connsiteY2"/>
                    </a:cxn>
                    <a:cxn ang="0">
                      <a:pos x="connsiteX3" y="connsiteY3"/>
                    </a:cxn>
                  </a:cxnLst>
                  <a:rect l="l" t="t" r="r" b="b"/>
                  <a:pathLst>
                    <a:path w="1026834" h="42222">
                      <a:moveTo>
                        <a:pt x="0" y="0"/>
                      </a:moveTo>
                      <a:lnTo>
                        <a:pt x="1026834" y="0"/>
                      </a:lnTo>
                      <a:lnTo>
                        <a:pt x="1026834" y="42222"/>
                      </a:lnTo>
                      <a:lnTo>
                        <a:pt x="0" y="42222"/>
                      </a:lnTo>
                      <a:close/>
                    </a:path>
                  </a:pathLst>
                </a:custGeom>
                <a:solidFill>
                  <a:srgbClr val="3B3B4C">
                    <a:alpha val="75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7" name="Freeform: Shape 76">
                  <a:extLst>
                    <a:ext uri="{FF2B5EF4-FFF2-40B4-BE49-F238E27FC236}">
                      <a16:creationId xmlns:a16="http://schemas.microsoft.com/office/drawing/2014/main" id="{3432846D-F467-378F-A503-F025BCAACB33}"/>
                    </a:ext>
                  </a:extLst>
                </p:cNvPr>
                <p:cNvSpPr/>
                <p:nvPr/>
              </p:nvSpPr>
              <p:spPr>
                <a:xfrm>
                  <a:off x="11294932" y="2918657"/>
                  <a:ext cx="545831" cy="42222"/>
                </a:xfrm>
                <a:custGeom>
                  <a:avLst/>
                  <a:gdLst>
                    <a:gd name="connsiteX0" fmla="*/ 0 w 545831"/>
                    <a:gd name="connsiteY0" fmla="*/ 0 h 42222"/>
                    <a:gd name="connsiteX1" fmla="*/ 545832 w 545831"/>
                    <a:gd name="connsiteY1" fmla="*/ 0 h 42222"/>
                    <a:gd name="connsiteX2" fmla="*/ 545832 w 545831"/>
                    <a:gd name="connsiteY2" fmla="*/ 42222 h 42222"/>
                    <a:gd name="connsiteX3" fmla="*/ 0 w 545831"/>
                    <a:gd name="connsiteY3" fmla="*/ 42222 h 42222"/>
                  </a:gdLst>
                  <a:ahLst/>
                  <a:cxnLst>
                    <a:cxn ang="0">
                      <a:pos x="connsiteX0" y="connsiteY0"/>
                    </a:cxn>
                    <a:cxn ang="0">
                      <a:pos x="connsiteX1" y="connsiteY1"/>
                    </a:cxn>
                    <a:cxn ang="0">
                      <a:pos x="connsiteX2" y="connsiteY2"/>
                    </a:cxn>
                    <a:cxn ang="0">
                      <a:pos x="connsiteX3" y="connsiteY3"/>
                    </a:cxn>
                  </a:cxnLst>
                  <a:rect l="l" t="t" r="r" b="b"/>
                  <a:pathLst>
                    <a:path w="545831" h="42222">
                      <a:moveTo>
                        <a:pt x="0" y="0"/>
                      </a:moveTo>
                      <a:lnTo>
                        <a:pt x="545832" y="0"/>
                      </a:lnTo>
                      <a:lnTo>
                        <a:pt x="545832" y="42222"/>
                      </a:lnTo>
                      <a:lnTo>
                        <a:pt x="0" y="42222"/>
                      </a:lnTo>
                      <a:close/>
                    </a:path>
                  </a:pathLst>
                </a:custGeom>
                <a:solidFill>
                  <a:srgbClr val="3B3B4C">
                    <a:alpha val="75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15" name="Freeform: Shape 14">
                <a:extLst>
                  <a:ext uri="{FF2B5EF4-FFF2-40B4-BE49-F238E27FC236}">
                    <a16:creationId xmlns:a16="http://schemas.microsoft.com/office/drawing/2014/main" id="{8E01784B-6096-DCB8-AE7A-A182BB5268AC}"/>
                  </a:ext>
                </a:extLst>
              </p:cNvPr>
              <p:cNvSpPr/>
              <p:nvPr/>
            </p:nvSpPr>
            <p:spPr>
              <a:xfrm>
                <a:off x="11174733" y="2017544"/>
                <a:ext cx="36228" cy="26697"/>
              </a:xfrm>
              <a:custGeom>
                <a:avLst/>
                <a:gdLst>
                  <a:gd name="connsiteX0" fmla="*/ 0 w 109394"/>
                  <a:gd name="connsiteY0" fmla="*/ 0 h 80613"/>
                  <a:gd name="connsiteX1" fmla="*/ 109394 w 109394"/>
                  <a:gd name="connsiteY1" fmla="*/ 0 h 80613"/>
                  <a:gd name="connsiteX2" fmla="*/ 109394 w 109394"/>
                  <a:gd name="connsiteY2" fmla="*/ 80613 h 80613"/>
                  <a:gd name="connsiteX3" fmla="*/ 0 w 109394"/>
                  <a:gd name="connsiteY3" fmla="*/ 80613 h 80613"/>
                </a:gdLst>
                <a:ahLst/>
                <a:cxnLst>
                  <a:cxn ang="0">
                    <a:pos x="connsiteX0" y="connsiteY0"/>
                  </a:cxn>
                  <a:cxn ang="0">
                    <a:pos x="connsiteX1" y="connsiteY1"/>
                  </a:cxn>
                  <a:cxn ang="0">
                    <a:pos x="connsiteX2" y="connsiteY2"/>
                  </a:cxn>
                  <a:cxn ang="0">
                    <a:pos x="connsiteX3" y="connsiteY3"/>
                  </a:cxn>
                </a:cxnLst>
                <a:rect l="l" t="t" r="r" b="b"/>
                <a:pathLst>
                  <a:path w="109394" h="80613">
                    <a:moveTo>
                      <a:pt x="0" y="0"/>
                    </a:moveTo>
                    <a:lnTo>
                      <a:pt x="109394" y="0"/>
                    </a:lnTo>
                    <a:lnTo>
                      <a:pt x="109394" y="80613"/>
                    </a:lnTo>
                    <a:lnTo>
                      <a:pt x="0" y="80613"/>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 name="Freeform: Shape 15">
                <a:extLst>
                  <a:ext uri="{FF2B5EF4-FFF2-40B4-BE49-F238E27FC236}">
                    <a16:creationId xmlns:a16="http://schemas.microsoft.com/office/drawing/2014/main" id="{4D877724-D5A9-0CD7-0868-03A20D1902D6}"/>
                  </a:ext>
                </a:extLst>
              </p:cNvPr>
              <p:cNvSpPr/>
              <p:nvPr/>
            </p:nvSpPr>
            <p:spPr>
              <a:xfrm>
                <a:off x="11036802" y="2014320"/>
                <a:ext cx="40680" cy="36275"/>
              </a:xfrm>
              <a:custGeom>
                <a:avLst/>
                <a:gdLst>
                  <a:gd name="connsiteX0" fmla="*/ 0 w 122835"/>
                  <a:gd name="connsiteY0" fmla="*/ 0 h 109536"/>
                  <a:gd name="connsiteX1" fmla="*/ 122835 w 122835"/>
                  <a:gd name="connsiteY1" fmla="*/ 0 h 109536"/>
                  <a:gd name="connsiteX2" fmla="*/ 122835 w 122835"/>
                  <a:gd name="connsiteY2" fmla="*/ 109537 h 109536"/>
                  <a:gd name="connsiteX3" fmla="*/ 0 w 122835"/>
                  <a:gd name="connsiteY3" fmla="*/ 109537 h 109536"/>
                </a:gdLst>
                <a:ahLst/>
                <a:cxnLst>
                  <a:cxn ang="0">
                    <a:pos x="connsiteX0" y="connsiteY0"/>
                  </a:cxn>
                  <a:cxn ang="0">
                    <a:pos x="connsiteX1" y="connsiteY1"/>
                  </a:cxn>
                  <a:cxn ang="0">
                    <a:pos x="connsiteX2" y="connsiteY2"/>
                  </a:cxn>
                  <a:cxn ang="0">
                    <a:pos x="connsiteX3" y="connsiteY3"/>
                  </a:cxn>
                </a:cxnLst>
                <a:rect l="l" t="t" r="r" b="b"/>
                <a:pathLst>
                  <a:path w="122835" h="109536">
                    <a:moveTo>
                      <a:pt x="0" y="0"/>
                    </a:moveTo>
                    <a:lnTo>
                      <a:pt x="122835" y="0"/>
                    </a:lnTo>
                    <a:lnTo>
                      <a:pt x="122835" y="109537"/>
                    </a:lnTo>
                    <a:lnTo>
                      <a:pt x="0" y="109537"/>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 name="Freeform: Shape 16">
                <a:extLst>
                  <a:ext uri="{FF2B5EF4-FFF2-40B4-BE49-F238E27FC236}">
                    <a16:creationId xmlns:a16="http://schemas.microsoft.com/office/drawing/2014/main" id="{F57D11BE-DBA1-2932-1690-3F7598E8595A}"/>
                  </a:ext>
                </a:extLst>
              </p:cNvPr>
              <p:cNvSpPr/>
              <p:nvPr/>
            </p:nvSpPr>
            <p:spPr>
              <a:xfrm>
                <a:off x="11114030" y="2067126"/>
                <a:ext cx="42903" cy="22272"/>
              </a:xfrm>
              <a:custGeom>
                <a:avLst/>
                <a:gdLst>
                  <a:gd name="connsiteX0" fmla="*/ 0 w 129547"/>
                  <a:gd name="connsiteY0" fmla="*/ 0 h 67251"/>
                  <a:gd name="connsiteX1" fmla="*/ 129548 w 129547"/>
                  <a:gd name="connsiteY1" fmla="*/ 0 h 67251"/>
                  <a:gd name="connsiteX2" fmla="*/ 129548 w 129547"/>
                  <a:gd name="connsiteY2" fmla="*/ 67251 h 67251"/>
                  <a:gd name="connsiteX3" fmla="*/ 0 w 129547"/>
                  <a:gd name="connsiteY3" fmla="*/ 67251 h 67251"/>
                </a:gdLst>
                <a:ahLst/>
                <a:cxnLst>
                  <a:cxn ang="0">
                    <a:pos x="connsiteX0" y="connsiteY0"/>
                  </a:cxn>
                  <a:cxn ang="0">
                    <a:pos x="connsiteX1" y="connsiteY1"/>
                  </a:cxn>
                  <a:cxn ang="0">
                    <a:pos x="connsiteX2" y="connsiteY2"/>
                  </a:cxn>
                  <a:cxn ang="0">
                    <a:pos x="connsiteX3" y="connsiteY3"/>
                  </a:cxn>
                </a:cxnLst>
                <a:rect l="l" t="t" r="r" b="b"/>
                <a:pathLst>
                  <a:path w="129547" h="67251">
                    <a:moveTo>
                      <a:pt x="0" y="0"/>
                    </a:moveTo>
                    <a:lnTo>
                      <a:pt x="129548" y="0"/>
                    </a:lnTo>
                    <a:lnTo>
                      <a:pt x="129548" y="67251"/>
                    </a:lnTo>
                    <a:lnTo>
                      <a:pt x="0" y="67251"/>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 name="Freeform: Shape 17">
                <a:extLst>
                  <a:ext uri="{FF2B5EF4-FFF2-40B4-BE49-F238E27FC236}">
                    <a16:creationId xmlns:a16="http://schemas.microsoft.com/office/drawing/2014/main" id="{1F246C03-151D-2905-BD42-B4A6C1533EBD}"/>
                  </a:ext>
                </a:extLst>
              </p:cNvPr>
              <p:cNvSpPr/>
              <p:nvPr/>
            </p:nvSpPr>
            <p:spPr>
              <a:xfrm>
                <a:off x="11228761" y="2105898"/>
                <a:ext cx="22880" cy="28621"/>
              </a:xfrm>
              <a:custGeom>
                <a:avLst/>
                <a:gdLst>
                  <a:gd name="connsiteX0" fmla="*/ 0 w 69087"/>
                  <a:gd name="connsiteY0" fmla="*/ 0 h 86423"/>
                  <a:gd name="connsiteX1" fmla="*/ 69088 w 69087"/>
                  <a:gd name="connsiteY1" fmla="*/ 0 h 86423"/>
                  <a:gd name="connsiteX2" fmla="*/ 69088 w 69087"/>
                  <a:gd name="connsiteY2" fmla="*/ 86423 h 86423"/>
                  <a:gd name="connsiteX3" fmla="*/ 0 w 69087"/>
                  <a:gd name="connsiteY3" fmla="*/ 86423 h 86423"/>
                </a:gdLst>
                <a:ahLst/>
                <a:cxnLst>
                  <a:cxn ang="0">
                    <a:pos x="connsiteX0" y="connsiteY0"/>
                  </a:cxn>
                  <a:cxn ang="0">
                    <a:pos x="connsiteX1" y="connsiteY1"/>
                  </a:cxn>
                  <a:cxn ang="0">
                    <a:pos x="connsiteX2" y="connsiteY2"/>
                  </a:cxn>
                  <a:cxn ang="0">
                    <a:pos x="connsiteX3" y="connsiteY3"/>
                  </a:cxn>
                </a:cxnLst>
                <a:rect l="l" t="t" r="r" b="b"/>
                <a:pathLst>
                  <a:path w="69087" h="86423">
                    <a:moveTo>
                      <a:pt x="0" y="0"/>
                    </a:moveTo>
                    <a:lnTo>
                      <a:pt x="69088" y="0"/>
                    </a:lnTo>
                    <a:lnTo>
                      <a:pt x="69088" y="86423"/>
                    </a:lnTo>
                    <a:lnTo>
                      <a:pt x="0" y="86423"/>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 name="Freeform: Shape 18">
                <a:extLst>
                  <a:ext uri="{FF2B5EF4-FFF2-40B4-BE49-F238E27FC236}">
                    <a16:creationId xmlns:a16="http://schemas.microsoft.com/office/drawing/2014/main" id="{779D3A19-C72C-651D-517A-087A909B2446}"/>
                  </a:ext>
                </a:extLst>
              </p:cNvPr>
              <p:cNvSpPr/>
              <p:nvPr/>
            </p:nvSpPr>
            <p:spPr>
              <a:xfrm>
                <a:off x="11015191" y="2102720"/>
                <a:ext cx="46400" cy="30660"/>
              </a:xfrm>
              <a:custGeom>
                <a:avLst/>
                <a:gdLst>
                  <a:gd name="connsiteX0" fmla="*/ 0 w 140107"/>
                  <a:gd name="connsiteY0" fmla="*/ 0 h 92581"/>
                  <a:gd name="connsiteX1" fmla="*/ 140107 w 140107"/>
                  <a:gd name="connsiteY1" fmla="*/ 0 h 92581"/>
                  <a:gd name="connsiteX2" fmla="*/ 140107 w 140107"/>
                  <a:gd name="connsiteY2" fmla="*/ 92581 h 92581"/>
                  <a:gd name="connsiteX3" fmla="*/ 0 w 140107"/>
                  <a:gd name="connsiteY3" fmla="*/ 92581 h 92581"/>
                </a:gdLst>
                <a:ahLst/>
                <a:cxnLst>
                  <a:cxn ang="0">
                    <a:pos x="connsiteX0" y="connsiteY0"/>
                  </a:cxn>
                  <a:cxn ang="0">
                    <a:pos x="connsiteX1" y="connsiteY1"/>
                  </a:cxn>
                  <a:cxn ang="0">
                    <a:pos x="connsiteX2" y="connsiteY2"/>
                  </a:cxn>
                  <a:cxn ang="0">
                    <a:pos x="connsiteX3" y="connsiteY3"/>
                  </a:cxn>
                </a:cxnLst>
                <a:rect l="l" t="t" r="r" b="b"/>
                <a:pathLst>
                  <a:path w="140107" h="92581">
                    <a:moveTo>
                      <a:pt x="0" y="0"/>
                    </a:moveTo>
                    <a:lnTo>
                      <a:pt x="140107" y="0"/>
                    </a:lnTo>
                    <a:lnTo>
                      <a:pt x="140107" y="92581"/>
                    </a:lnTo>
                    <a:lnTo>
                      <a:pt x="0" y="92581"/>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 name="Freeform: Shape 19">
                <a:extLst>
                  <a:ext uri="{FF2B5EF4-FFF2-40B4-BE49-F238E27FC236}">
                    <a16:creationId xmlns:a16="http://schemas.microsoft.com/office/drawing/2014/main" id="{4D6A30DA-512D-5A54-17E5-CEA808C0B409}"/>
                  </a:ext>
                </a:extLst>
              </p:cNvPr>
              <p:cNvSpPr/>
              <p:nvPr/>
            </p:nvSpPr>
            <p:spPr>
              <a:xfrm>
                <a:off x="11101316" y="2152937"/>
                <a:ext cx="18827" cy="25695"/>
              </a:xfrm>
              <a:custGeom>
                <a:avLst/>
                <a:gdLst>
                  <a:gd name="connsiteX0" fmla="*/ 0 w 56850"/>
                  <a:gd name="connsiteY0" fmla="*/ 0 h 77589"/>
                  <a:gd name="connsiteX1" fmla="*/ 56850 w 56850"/>
                  <a:gd name="connsiteY1" fmla="*/ 0 h 77589"/>
                  <a:gd name="connsiteX2" fmla="*/ 56850 w 56850"/>
                  <a:gd name="connsiteY2" fmla="*/ 77589 h 77589"/>
                  <a:gd name="connsiteX3" fmla="*/ 0 w 56850"/>
                  <a:gd name="connsiteY3" fmla="*/ 77589 h 77589"/>
                </a:gdLst>
                <a:ahLst/>
                <a:cxnLst>
                  <a:cxn ang="0">
                    <a:pos x="connsiteX0" y="connsiteY0"/>
                  </a:cxn>
                  <a:cxn ang="0">
                    <a:pos x="connsiteX1" y="connsiteY1"/>
                  </a:cxn>
                  <a:cxn ang="0">
                    <a:pos x="connsiteX2" y="connsiteY2"/>
                  </a:cxn>
                  <a:cxn ang="0">
                    <a:pos x="connsiteX3" y="connsiteY3"/>
                  </a:cxn>
                </a:cxnLst>
                <a:rect l="l" t="t" r="r" b="b"/>
                <a:pathLst>
                  <a:path w="56850" h="77589">
                    <a:moveTo>
                      <a:pt x="0" y="0"/>
                    </a:moveTo>
                    <a:lnTo>
                      <a:pt x="56850" y="0"/>
                    </a:lnTo>
                    <a:lnTo>
                      <a:pt x="56850" y="77589"/>
                    </a:lnTo>
                    <a:lnTo>
                      <a:pt x="0" y="77589"/>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 name="Freeform: Shape 20">
                <a:extLst>
                  <a:ext uri="{FF2B5EF4-FFF2-40B4-BE49-F238E27FC236}">
                    <a16:creationId xmlns:a16="http://schemas.microsoft.com/office/drawing/2014/main" id="{3E3F43DF-566F-5426-AA7A-03B92876AE5A}"/>
                  </a:ext>
                </a:extLst>
              </p:cNvPr>
              <p:cNvSpPr/>
              <p:nvPr/>
            </p:nvSpPr>
            <p:spPr>
              <a:xfrm>
                <a:off x="11203338" y="2152937"/>
                <a:ext cx="20788" cy="25695"/>
              </a:xfrm>
              <a:custGeom>
                <a:avLst/>
                <a:gdLst>
                  <a:gd name="connsiteX0" fmla="*/ 0 w 62771"/>
                  <a:gd name="connsiteY0" fmla="*/ 0 h 77589"/>
                  <a:gd name="connsiteX1" fmla="*/ 62771 w 62771"/>
                  <a:gd name="connsiteY1" fmla="*/ 0 h 77589"/>
                  <a:gd name="connsiteX2" fmla="*/ 62771 w 62771"/>
                  <a:gd name="connsiteY2" fmla="*/ 77589 h 77589"/>
                  <a:gd name="connsiteX3" fmla="*/ 0 w 62771"/>
                  <a:gd name="connsiteY3" fmla="*/ 77589 h 77589"/>
                </a:gdLst>
                <a:ahLst/>
                <a:cxnLst>
                  <a:cxn ang="0">
                    <a:pos x="connsiteX0" y="connsiteY0"/>
                  </a:cxn>
                  <a:cxn ang="0">
                    <a:pos x="connsiteX1" y="connsiteY1"/>
                  </a:cxn>
                  <a:cxn ang="0">
                    <a:pos x="connsiteX2" y="connsiteY2"/>
                  </a:cxn>
                  <a:cxn ang="0">
                    <a:pos x="connsiteX3" y="connsiteY3"/>
                  </a:cxn>
                </a:cxnLst>
                <a:rect l="l" t="t" r="r" b="b"/>
                <a:pathLst>
                  <a:path w="62771" h="77589">
                    <a:moveTo>
                      <a:pt x="0" y="0"/>
                    </a:moveTo>
                    <a:lnTo>
                      <a:pt x="62771" y="0"/>
                    </a:lnTo>
                    <a:lnTo>
                      <a:pt x="62771" y="77589"/>
                    </a:lnTo>
                    <a:lnTo>
                      <a:pt x="0" y="77589"/>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 name="Freeform: Shape 21">
                <a:extLst>
                  <a:ext uri="{FF2B5EF4-FFF2-40B4-BE49-F238E27FC236}">
                    <a16:creationId xmlns:a16="http://schemas.microsoft.com/office/drawing/2014/main" id="{294A3A01-53BB-0B7B-9183-59449B50EB68}"/>
                  </a:ext>
                </a:extLst>
              </p:cNvPr>
              <p:cNvSpPr/>
              <p:nvPr/>
            </p:nvSpPr>
            <p:spPr>
              <a:xfrm>
                <a:off x="11213730" y="2190434"/>
                <a:ext cx="81773" cy="39411"/>
              </a:xfrm>
              <a:custGeom>
                <a:avLst/>
                <a:gdLst>
                  <a:gd name="connsiteX0" fmla="*/ 0 w 246920"/>
                  <a:gd name="connsiteY0" fmla="*/ 0 h 119003"/>
                  <a:gd name="connsiteX1" fmla="*/ 246921 w 246920"/>
                  <a:gd name="connsiteY1" fmla="*/ 0 h 119003"/>
                  <a:gd name="connsiteX2" fmla="*/ 246921 w 246920"/>
                  <a:gd name="connsiteY2" fmla="*/ 119004 h 119003"/>
                  <a:gd name="connsiteX3" fmla="*/ 0 w 246920"/>
                  <a:gd name="connsiteY3" fmla="*/ 119004 h 119003"/>
                </a:gdLst>
                <a:ahLst/>
                <a:cxnLst>
                  <a:cxn ang="0">
                    <a:pos x="connsiteX0" y="connsiteY0"/>
                  </a:cxn>
                  <a:cxn ang="0">
                    <a:pos x="connsiteX1" y="connsiteY1"/>
                  </a:cxn>
                  <a:cxn ang="0">
                    <a:pos x="connsiteX2" y="connsiteY2"/>
                  </a:cxn>
                  <a:cxn ang="0">
                    <a:pos x="connsiteX3" y="connsiteY3"/>
                  </a:cxn>
                </a:cxnLst>
                <a:rect l="l" t="t" r="r" b="b"/>
                <a:pathLst>
                  <a:path w="246920" h="119003">
                    <a:moveTo>
                      <a:pt x="0" y="0"/>
                    </a:moveTo>
                    <a:lnTo>
                      <a:pt x="246921" y="0"/>
                    </a:lnTo>
                    <a:lnTo>
                      <a:pt x="246921" y="119004"/>
                    </a:lnTo>
                    <a:lnTo>
                      <a:pt x="0" y="119004"/>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 name="Freeform: Shape 22">
                <a:extLst>
                  <a:ext uri="{FF2B5EF4-FFF2-40B4-BE49-F238E27FC236}">
                    <a16:creationId xmlns:a16="http://schemas.microsoft.com/office/drawing/2014/main" id="{E2F43017-1B73-A5E2-B9AA-EB098A8E391A}"/>
                  </a:ext>
                </a:extLst>
              </p:cNvPr>
              <p:cNvSpPr/>
              <p:nvPr/>
            </p:nvSpPr>
            <p:spPr>
              <a:xfrm>
                <a:off x="11251641" y="2105898"/>
                <a:ext cx="48617" cy="28621"/>
              </a:xfrm>
              <a:custGeom>
                <a:avLst/>
                <a:gdLst>
                  <a:gd name="connsiteX0" fmla="*/ 0 w 146803"/>
                  <a:gd name="connsiteY0" fmla="*/ 0 h 86423"/>
                  <a:gd name="connsiteX1" fmla="*/ 146804 w 146803"/>
                  <a:gd name="connsiteY1" fmla="*/ 0 h 86423"/>
                  <a:gd name="connsiteX2" fmla="*/ 146804 w 146803"/>
                  <a:gd name="connsiteY2" fmla="*/ 86423 h 86423"/>
                  <a:gd name="connsiteX3" fmla="*/ 0 w 146803"/>
                  <a:gd name="connsiteY3" fmla="*/ 86423 h 86423"/>
                </a:gdLst>
                <a:ahLst/>
                <a:cxnLst>
                  <a:cxn ang="0">
                    <a:pos x="connsiteX0" y="connsiteY0"/>
                  </a:cxn>
                  <a:cxn ang="0">
                    <a:pos x="connsiteX1" y="connsiteY1"/>
                  </a:cxn>
                  <a:cxn ang="0">
                    <a:pos x="connsiteX2" y="connsiteY2"/>
                  </a:cxn>
                  <a:cxn ang="0">
                    <a:pos x="connsiteX3" y="connsiteY3"/>
                  </a:cxn>
                </a:cxnLst>
                <a:rect l="l" t="t" r="r" b="b"/>
                <a:pathLst>
                  <a:path w="146803" h="86423">
                    <a:moveTo>
                      <a:pt x="0" y="0"/>
                    </a:moveTo>
                    <a:lnTo>
                      <a:pt x="146804" y="0"/>
                    </a:lnTo>
                    <a:lnTo>
                      <a:pt x="146804" y="86423"/>
                    </a:lnTo>
                    <a:lnTo>
                      <a:pt x="0" y="86423"/>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 name="Freeform: Shape 23">
                <a:extLst>
                  <a:ext uri="{FF2B5EF4-FFF2-40B4-BE49-F238E27FC236}">
                    <a16:creationId xmlns:a16="http://schemas.microsoft.com/office/drawing/2014/main" id="{450C55B3-3BE7-E048-AFDD-FEDDCDF86701}"/>
                  </a:ext>
                </a:extLst>
              </p:cNvPr>
              <p:cNvSpPr/>
              <p:nvPr/>
            </p:nvSpPr>
            <p:spPr>
              <a:xfrm>
                <a:off x="11240201" y="2257811"/>
                <a:ext cx="55297" cy="24154"/>
              </a:xfrm>
              <a:custGeom>
                <a:avLst/>
                <a:gdLst>
                  <a:gd name="connsiteX0" fmla="*/ 0 w 166972"/>
                  <a:gd name="connsiteY0" fmla="*/ 0 h 72934"/>
                  <a:gd name="connsiteX1" fmla="*/ 166973 w 166972"/>
                  <a:gd name="connsiteY1" fmla="*/ 0 h 72934"/>
                  <a:gd name="connsiteX2" fmla="*/ 166973 w 166972"/>
                  <a:gd name="connsiteY2" fmla="*/ 72935 h 72934"/>
                  <a:gd name="connsiteX3" fmla="*/ 0 w 166972"/>
                  <a:gd name="connsiteY3" fmla="*/ 72935 h 72934"/>
                </a:gdLst>
                <a:ahLst/>
                <a:cxnLst>
                  <a:cxn ang="0">
                    <a:pos x="connsiteX0" y="connsiteY0"/>
                  </a:cxn>
                  <a:cxn ang="0">
                    <a:pos x="connsiteX1" y="connsiteY1"/>
                  </a:cxn>
                  <a:cxn ang="0">
                    <a:pos x="connsiteX2" y="connsiteY2"/>
                  </a:cxn>
                  <a:cxn ang="0">
                    <a:pos x="connsiteX3" y="connsiteY3"/>
                  </a:cxn>
                </a:cxnLst>
                <a:rect l="l" t="t" r="r" b="b"/>
                <a:pathLst>
                  <a:path w="166972" h="72934">
                    <a:moveTo>
                      <a:pt x="0" y="0"/>
                    </a:moveTo>
                    <a:lnTo>
                      <a:pt x="166973" y="0"/>
                    </a:lnTo>
                    <a:lnTo>
                      <a:pt x="166973" y="72935"/>
                    </a:lnTo>
                    <a:lnTo>
                      <a:pt x="0" y="72935"/>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 name="Freeform: Shape 24">
                <a:extLst>
                  <a:ext uri="{FF2B5EF4-FFF2-40B4-BE49-F238E27FC236}">
                    <a16:creationId xmlns:a16="http://schemas.microsoft.com/office/drawing/2014/main" id="{DDF8EFCC-61E7-7E50-C2B5-ABFA1D04C6B1}"/>
                  </a:ext>
                </a:extLst>
              </p:cNvPr>
              <p:cNvSpPr/>
              <p:nvPr/>
            </p:nvSpPr>
            <p:spPr>
              <a:xfrm>
                <a:off x="11015191" y="2247005"/>
                <a:ext cx="34960" cy="34960"/>
              </a:xfrm>
              <a:custGeom>
                <a:avLst/>
                <a:gdLst>
                  <a:gd name="connsiteX0" fmla="*/ 0 w 105563"/>
                  <a:gd name="connsiteY0" fmla="*/ 0 h 105563"/>
                  <a:gd name="connsiteX1" fmla="*/ 105563 w 105563"/>
                  <a:gd name="connsiteY1" fmla="*/ 0 h 105563"/>
                  <a:gd name="connsiteX2" fmla="*/ 105563 w 105563"/>
                  <a:gd name="connsiteY2" fmla="*/ 105563 h 105563"/>
                  <a:gd name="connsiteX3" fmla="*/ 0 w 105563"/>
                  <a:gd name="connsiteY3" fmla="*/ 105563 h 105563"/>
                </a:gdLst>
                <a:ahLst/>
                <a:cxnLst>
                  <a:cxn ang="0">
                    <a:pos x="connsiteX0" y="connsiteY0"/>
                  </a:cxn>
                  <a:cxn ang="0">
                    <a:pos x="connsiteX1" y="connsiteY1"/>
                  </a:cxn>
                  <a:cxn ang="0">
                    <a:pos x="connsiteX2" y="connsiteY2"/>
                  </a:cxn>
                  <a:cxn ang="0">
                    <a:pos x="connsiteX3" y="connsiteY3"/>
                  </a:cxn>
                </a:cxnLst>
                <a:rect l="l" t="t" r="r" b="b"/>
                <a:pathLst>
                  <a:path w="105563" h="105563">
                    <a:moveTo>
                      <a:pt x="0" y="0"/>
                    </a:moveTo>
                    <a:lnTo>
                      <a:pt x="105563" y="0"/>
                    </a:lnTo>
                    <a:lnTo>
                      <a:pt x="105563" y="105563"/>
                    </a:lnTo>
                    <a:lnTo>
                      <a:pt x="0" y="105563"/>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26" name="Graphic 3">
                <a:extLst>
                  <a:ext uri="{FF2B5EF4-FFF2-40B4-BE49-F238E27FC236}">
                    <a16:creationId xmlns:a16="http://schemas.microsoft.com/office/drawing/2014/main" id="{F50B071B-1B86-7FBC-D9A0-2DDF1313232D}"/>
                  </a:ext>
                </a:extLst>
              </p:cNvPr>
              <p:cNvGrpSpPr/>
              <p:nvPr/>
            </p:nvGrpSpPr>
            <p:grpSpPr>
              <a:xfrm>
                <a:off x="11162547" y="1979667"/>
                <a:ext cx="449663" cy="543342"/>
                <a:chOff x="11907236" y="1916704"/>
                <a:chExt cx="1357785" cy="1640655"/>
              </a:xfrm>
            </p:grpSpPr>
            <p:sp>
              <p:nvSpPr>
                <p:cNvPr id="27" name="Freeform: Shape 26">
                  <a:extLst>
                    <a:ext uri="{FF2B5EF4-FFF2-40B4-BE49-F238E27FC236}">
                      <a16:creationId xmlns:a16="http://schemas.microsoft.com/office/drawing/2014/main" id="{95864564-F844-5D34-55D2-082EEFD4AAB9}"/>
                    </a:ext>
                  </a:extLst>
                </p:cNvPr>
                <p:cNvSpPr/>
                <p:nvPr/>
              </p:nvSpPr>
              <p:spPr>
                <a:xfrm>
                  <a:off x="12199200" y="2508105"/>
                  <a:ext cx="140915" cy="108224"/>
                </a:xfrm>
                <a:custGeom>
                  <a:avLst/>
                  <a:gdLst>
                    <a:gd name="connsiteX0" fmla="*/ 61489 w 140915"/>
                    <a:gd name="connsiteY0" fmla="*/ 100939 h 108224"/>
                    <a:gd name="connsiteX1" fmla="*/ 78540 w 140915"/>
                    <a:gd name="connsiteY1" fmla="*/ 84933 h 108224"/>
                    <a:gd name="connsiteX2" fmla="*/ 95970 w 140915"/>
                    <a:gd name="connsiteY2" fmla="*/ 70448 h 108224"/>
                    <a:gd name="connsiteX3" fmla="*/ 102350 w 140915"/>
                    <a:gd name="connsiteY3" fmla="*/ 67772 h 108224"/>
                    <a:gd name="connsiteX4" fmla="*/ 109110 w 140915"/>
                    <a:gd name="connsiteY4" fmla="*/ 64828 h 108224"/>
                    <a:gd name="connsiteX5" fmla="*/ 140915 w 140915"/>
                    <a:gd name="connsiteY5" fmla="*/ 46099 h 108224"/>
                    <a:gd name="connsiteX6" fmla="*/ 113400 w 140915"/>
                    <a:gd name="connsiteY6" fmla="*/ 30 h 108224"/>
                    <a:gd name="connsiteX7" fmla="*/ 90841 w 140915"/>
                    <a:gd name="connsiteY7" fmla="*/ 13803 h 108224"/>
                    <a:gd name="connsiteX8" fmla="*/ 78207 w 140915"/>
                    <a:gd name="connsiteY8" fmla="*/ 22051 h 108224"/>
                    <a:gd name="connsiteX9" fmla="*/ 71431 w 140915"/>
                    <a:gd name="connsiteY9" fmla="*/ 25661 h 108224"/>
                    <a:gd name="connsiteX10" fmla="*/ 54397 w 140915"/>
                    <a:gd name="connsiteY10" fmla="*/ 29650 h 108224"/>
                    <a:gd name="connsiteX11" fmla="*/ 21246 w 140915"/>
                    <a:gd name="connsiteY11" fmla="*/ 28938 h 108224"/>
                    <a:gd name="connsiteX12" fmla="*/ 4702 w 140915"/>
                    <a:gd name="connsiteY12" fmla="*/ 59271 h 108224"/>
                    <a:gd name="connsiteX13" fmla="*/ 18032 w 140915"/>
                    <a:gd name="connsiteY13" fmla="*/ 105213 h 108224"/>
                    <a:gd name="connsiteX14" fmla="*/ 61489 w 140915"/>
                    <a:gd name="connsiteY14" fmla="*/ 100939 h 10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0915" h="108224">
                      <a:moveTo>
                        <a:pt x="61489" y="100939"/>
                      </a:moveTo>
                      <a:cubicBezTo>
                        <a:pt x="65305" y="96158"/>
                        <a:pt x="74107" y="88147"/>
                        <a:pt x="78540" y="84933"/>
                      </a:cubicBezTo>
                      <a:cubicBezTo>
                        <a:pt x="84492" y="80596"/>
                        <a:pt x="87753" y="73962"/>
                        <a:pt x="95970" y="70448"/>
                      </a:cubicBezTo>
                      <a:cubicBezTo>
                        <a:pt x="98012" y="69561"/>
                        <a:pt x="100118" y="68690"/>
                        <a:pt x="102350" y="67772"/>
                      </a:cubicBezTo>
                      <a:cubicBezTo>
                        <a:pt x="104788" y="66759"/>
                        <a:pt x="107036" y="65778"/>
                        <a:pt x="109110" y="64828"/>
                      </a:cubicBezTo>
                      <a:cubicBezTo>
                        <a:pt x="122820" y="58479"/>
                        <a:pt x="129738" y="52859"/>
                        <a:pt x="140915" y="46099"/>
                      </a:cubicBezTo>
                      <a:cubicBezTo>
                        <a:pt x="140915" y="46099"/>
                        <a:pt x="121981" y="-1363"/>
                        <a:pt x="113400" y="30"/>
                      </a:cubicBezTo>
                      <a:cubicBezTo>
                        <a:pt x="108113" y="885"/>
                        <a:pt x="100276" y="7122"/>
                        <a:pt x="90841" y="13803"/>
                      </a:cubicBezTo>
                      <a:cubicBezTo>
                        <a:pt x="86883" y="16590"/>
                        <a:pt x="82640" y="19471"/>
                        <a:pt x="78207" y="22051"/>
                      </a:cubicBezTo>
                      <a:cubicBezTo>
                        <a:pt x="76007" y="23350"/>
                        <a:pt x="73743" y="24569"/>
                        <a:pt x="71431" y="25661"/>
                      </a:cubicBezTo>
                      <a:cubicBezTo>
                        <a:pt x="66286" y="28131"/>
                        <a:pt x="60318" y="29207"/>
                        <a:pt x="54397" y="29650"/>
                      </a:cubicBezTo>
                      <a:cubicBezTo>
                        <a:pt x="36539" y="30980"/>
                        <a:pt x="22180" y="17318"/>
                        <a:pt x="21246" y="28938"/>
                      </a:cubicBezTo>
                      <a:cubicBezTo>
                        <a:pt x="20312" y="40479"/>
                        <a:pt x="39595" y="38136"/>
                        <a:pt x="4702" y="59271"/>
                      </a:cubicBezTo>
                      <a:cubicBezTo>
                        <a:pt x="-4749" y="64986"/>
                        <a:pt x="222" y="96949"/>
                        <a:pt x="18032" y="105213"/>
                      </a:cubicBezTo>
                      <a:cubicBezTo>
                        <a:pt x="23162" y="107604"/>
                        <a:pt x="52450" y="112274"/>
                        <a:pt x="61489" y="100939"/>
                      </a:cubicBezTo>
                      <a:close/>
                    </a:path>
                  </a:pathLst>
                </a:custGeom>
                <a:solidFill>
                  <a:srgbClr val="EFAEA6"/>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28" name="Graphic 3">
                  <a:extLst>
                    <a:ext uri="{FF2B5EF4-FFF2-40B4-BE49-F238E27FC236}">
                      <a16:creationId xmlns:a16="http://schemas.microsoft.com/office/drawing/2014/main" id="{0BD806F8-50CF-6DAF-9E87-440FFA352D66}"/>
                    </a:ext>
                  </a:extLst>
                </p:cNvPr>
                <p:cNvGrpSpPr/>
                <p:nvPr/>
              </p:nvGrpSpPr>
              <p:grpSpPr>
                <a:xfrm>
                  <a:off x="12475190" y="3403474"/>
                  <a:ext cx="207353" cy="152487"/>
                  <a:chOff x="12475190" y="3403474"/>
                  <a:chExt cx="207353" cy="152487"/>
                </a:xfrm>
              </p:grpSpPr>
              <p:sp>
                <p:nvSpPr>
                  <p:cNvPr id="69" name="Freeform: Shape 68">
                    <a:extLst>
                      <a:ext uri="{FF2B5EF4-FFF2-40B4-BE49-F238E27FC236}">
                        <a16:creationId xmlns:a16="http://schemas.microsoft.com/office/drawing/2014/main" id="{4D226430-957E-C1F3-9DC1-06E1818B8216}"/>
                      </a:ext>
                    </a:extLst>
                  </p:cNvPr>
                  <p:cNvSpPr/>
                  <p:nvPr/>
                </p:nvSpPr>
                <p:spPr>
                  <a:xfrm>
                    <a:off x="12606841" y="3403474"/>
                    <a:ext cx="70528" cy="121410"/>
                  </a:xfrm>
                  <a:custGeom>
                    <a:avLst/>
                    <a:gdLst>
                      <a:gd name="connsiteX0" fmla="*/ 1330 w 70528"/>
                      <a:gd name="connsiteY0" fmla="*/ 87895 h 121410"/>
                      <a:gd name="connsiteX1" fmla="*/ 680 w 70528"/>
                      <a:gd name="connsiteY1" fmla="*/ 2327 h 121410"/>
                      <a:gd name="connsiteX2" fmla="*/ 70528 w 70528"/>
                      <a:gd name="connsiteY2" fmla="*/ 0 h 121410"/>
                      <a:gd name="connsiteX3" fmla="*/ 66776 w 70528"/>
                      <a:gd name="connsiteY3" fmla="*/ 92122 h 121410"/>
                      <a:gd name="connsiteX4" fmla="*/ 20612 w 70528"/>
                      <a:gd name="connsiteY4" fmla="*/ 121410 h 121410"/>
                      <a:gd name="connsiteX5" fmla="*/ 1345 w 70528"/>
                      <a:gd name="connsiteY5" fmla="*/ 87895 h 12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28" h="121410">
                        <a:moveTo>
                          <a:pt x="1330" y="87895"/>
                        </a:moveTo>
                        <a:cubicBezTo>
                          <a:pt x="-1219" y="63689"/>
                          <a:pt x="680" y="2327"/>
                          <a:pt x="680" y="2327"/>
                        </a:cubicBezTo>
                        <a:lnTo>
                          <a:pt x="70528" y="0"/>
                        </a:lnTo>
                        <a:lnTo>
                          <a:pt x="66776" y="92122"/>
                        </a:lnTo>
                        <a:lnTo>
                          <a:pt x="20612" y="121410"/>
                        </a:lnTo>
                        <a:lnTo>
                          <a:pt x="1345" y="87895"/>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0" name="Freeform: Shape 69">
                    <a:extLst>
                      <a:ext uri="{FF2B5EF4-FFF2-40B4-BE49-F238E27FC236}">
                        <a16:creationId xmlns:a16="http://schemas.microsoft.com/office/drawing/2014/main" id="{FD27F873-90A1-BF7C-E5F3-827CF91A1763}"/>
                      </a:ext>
                    </a:extLst>
                  </p:cNvPr>
                  <p:cNvSpPr/>
                  <p:nvPr/>
                </p:nvSpPr>
                <p:spPr>
                  <a:xfrm>
                    <a:off x="12475190" y="3468684"/>
                    <a:ext cx="207353" cy="87278"/>
                  </a:xfrm>
                  <a:custGeom>
                    <a:avLst/>
                    <a:gdLst>
                      <a:gd name="connsiteX0" fmla="*/ 2388 w 207353"/>
                      <a:gd name="connsiteY0" fmla="*/ 77874 h 87278"/>
                      <a:gd name="connsiteX1" fmla="*/ 14689 w 207353"/>
                      <a:gd name="connsiteY1" fmla="*/ 86217 h 87278"/>
                      <a:gd name="connsiteX2" fmla="*/ 24583 w 207353"/>
                      <a:gd name="connsiteY2" fmla="*/ 87278 h 87278"/>
                      <a:gd name="connsiteX3" fmla="*/ 187899 w 207353"/>
                      <a:gd name="connsiteY3" fmla="*/ 86740 h 87278"/>
                      <a:gd name="connsiteX4" fmla="*/ 191841 w 207353"/>
                      <a:gd name="connsiteY4" fmla="*/ 86217 h 87278"/>
                      <a:gd name="connsiteX5" fmla="*/ 202828 w 207353"/>
                      <a:gd name="connsiteY5" fmla="*/ 75959 h 87278"/>
                      <a:gd name="connsiteX6" fmla="*/ 203667 w 207353"/>
                      <a:gd name="connsiteY6" fmla="*/ 72492 h 87278"/>
                      <a:gd name="connsiteX7" fmla="*/ 200232 w 207353"/>
                      <a:gd name="connsiteY7" fmla="*/ 0 h 87278"/>
                      <a:gd name="connsiteX8" fmla="*/ 199503 w 207353"/>
                      <a:gd name="connsiteY8" fmla="*/ 174 h 87278"/>
                      <a:gd name="connsiteX9" fmla="*/ 131983 w 207353"/>
                      <a:gd name="connsiteY9" fmla="*/ 5620 h 87278"/>
                      <a:gd name="connsiteX10" fmla="*/ 127344 w 207353"/>
                      <a:gd name="connsiteY10" fmla="*/ 2786 h 87278"/>
                      <a:gd name="connsiteX11" fmla="*/ 105640 w 207353"/>
                      <a:gd name="connsiteY11" fmla="*/ 23779 h 87278"/>
                      <a:gd name="connsiteX12" fmla="*/ 7644 w 207353"/>
                      <a:gd name="connsiteY12" fmla="*/ 52133 h 87278"/>
                      <a:gd name="connsiteX13" fmla="*/ 2388 w 207353"/>
                      <a:gd name="connsiteY13" fmla="*/ 77874 h 8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7353" h="87278">
                        <a:moveTo>
                          <a:pt x="2388" y="77874"/>
                        </a:moveTo>
                        <a:cubicBezTo>
                          <a:pt x="4588" y="81595"/>
                          <a:pt x="8435" y="84666"/>
                          <a:pt x="14689" y="86217"/>
                        </a:cubicBezTo>
                        <a:cubicBezTo>
                          <a:pt x="17491" y="86898"/>
                          <a:pt x="20752" y="87294"/>
                          <a:pt x="24583" y="87278"/>
                        </a:cubicBezTo>
                        <a:cubicBezTo>
                          <a:pt x="55423" y="87151"/>
                          <a:pt x="154178" y="87088"/>
                          <a:pt x="187899" y="86740"/>
                        </a:cubicBezTo>
                        <a:cubicBezTo>
                          <a:pt x="189260" y="86724"/>
                          <a:pt x="190559" y="86550"/>
                          <a:pt x="191841" y="86217"/>
                        </a:cubicBezTo>
                        <a:cubicBezTo>
                          <a:pt x="197160" y="84903"/>
                          <a:pt x="201451" y="81056"/>
                          <a:pt x="202828" y="75959"/>
                        </a:cubicBezTo>
                        <a:cubicBezTo>
                          <a:pt x="203129" y="74866"/>
                          <a:pt x="203414" y="73726"/>
                          <a:pt x="203667" y="72492"/>
                        </a:cubicBezTo>
                        <a:cubicBezTo>
                          <a:pt x="208939" y="48507"/>
                          <a:pt x="209192" y="697"/>
                          <a:pt x="200232" y="0"/>
                        </a:cubicBezTo>
                        <a:cubicBezTo>
                          <a:pt x="199994" y="48"/>
                          <a:pt x="199757" y="111"/>
                          <a:pt x="199503" y="174"/>
                        </a:cubicBezTo>
                        <a:cubicBezTo>
                          <a:pt x="187044" y="3103"/>
                          <a:pt x="154226" y="16892"/>
                          <a:pt x="131983" y="5620"/>
                        </a:cubicBezTo>
                        <a:cubicBezTo>
                          <a:pt x="130368" y="4829"/>
                          <a:pt x="128817" y="3879"/>
                          <a:pt x="127344" y="2786"/>
                        </a:cubicBezTo>
                        <a:cubicBezTo>
                          <a:pt x="121471" y="-1536"/>
                          <a:pt x="108347" y="13599"/>
                          <a:pt x="105640" y="23779"/>
                        </a:cubicBezTo>
                        <a:cubicBezTo>
                          <a:pt x="99449" y="47051"/>
                          <a:pt x="21544" y="50027"/>
                          <a:pt x="7644" y="52133"/>
                        </a:cubicBezTo>
                        <a:cubicBezTo>
                          <a:pt x="2958" y="52845"/>
                          <a:pt x="-3581" y="67711"/>
                          <a:pt x="2388" y="77874"/>
                        </a:cubicBezTo>
                        <a:close/>
                      </a:path>
                    </a:pathLst>
                  </a:custGeom>
                  <a:solidFill>
                    <a:srgbClr val="1F1F39"/>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grpSp>
              <p:nvGrpSpPr>
                <p:cNvPr id="29" name="Graphic 3">
                  <a:extLst>
                    <a:ext uri="{FF2B5EF4-FFF2-40B4-BE49-F238E27FC236}">
                      <a16:creationId xmlns:a16="http://schemas.microsoft.com/office/drawing/2014/main" id="{EC8AB38E-5F1C-FD13-53F4-4AA288A28144}"/>
                    </a:ext>
                  </a:extLst>
                </p:cNvPr>
                <p:cNvGrpSpPr/>
                <p:nvPr/>
              </p:nvGrpSpPr>
              <p:grpSpPr>
                <a:xfrm>
                  <a:off x="12744081" y="3403538"/>
                  <a:ext cx="207913" cy="153821"/>
                  <a:chOff x="12744081" y="3403538"/>
                  <a:chExt cx="207913" cy="153821"/>
                </a:xfrm>
              </p:grpSpPr>
              <p:sp>
                <p:nvSpPr>
                  <p:cNvPr id="67" name="Freeform: Shape 66">
                    <a:extLst>
                      <a:ext uri="{FF2B5EF4-FFF2-40B4-BE49-F238E27FC236}">
                        <a16:creationId xmlns:a16="http://schemas.microsoft.com/office/drawing/2014/main" id="{DE99A9A0-9A64-E6CE-E122-7EB62051C550}"/>
                      </a:ext>
                    </a:extLst>
                  </p:cNvPr>
                  <p:cNvSpPr/>
                  <p:nvPr/>
                </p:nvSpPr>
                <p:spPr>
                  <a:xfrm>
                    <a:off x="12874912" y="3403538"/>
                    <a:ext cx="70259" cy="121663"/>
                  </a:xfrm>
                  <a:custGeom>
                    <a:avLst/>
                    <a:gdLst>
                      <a:gd name="connsiteX0" fmla="*/ 1599 w 70259"/>
                      <a:gd name="connsiteY0" fmla="*/ 88244 h 121663"/>
                      <a:gd name="connsiteX1" fmla="*/ 428 w 70259"/>
                      <a:gd name="connsiteY1" fmla="*/ 2691 h 121663"/>
                      <a:gd name="connsiteX2" fmla="*/ 70259 w 70259"/>
                      <a:gd name="connsiteY2" fmla="*/ 0 h 121663"/>
                      <a:gd name="connsiteX3" fmla="*/ 67061 w 70259"/>
                      <a:gd name="connsiteY3" fmla="*/ 92138 h 121663"/>
                      <a:gd name="connsiteX4" fmla="*/ 21087 w 70259"/>
                      <a:gd name="connsiteY4" fmla="*/ 121664 h 121663"/>
                      <a:gd name="connsiteX5" fmla="*/ 1615 w 70259"/>
                      <a:gd name="connsiteY5" fmla="*/ 88244 h 121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59" h="121663">
                        <a:moveTo>
                          <a:pt x="1599" y="88244"/>
                        </a:moveTo>
                        <a:cubicBezTo>
                          <a:pt x="-1092" y="64054"/>
                          <a:pt x="428" y="2691"/>
                          <a:pt x="428" y="2691"/>
                        </a:cubicBezTo>
                        <a:lnTo>
                          <a:pt x="70259" y="0"/>
                        </a:lnTo>
                        <a:lnTo>
                          <a:pt x="67061" y="92138"/>
                        </a:lnTo>
                        <a:lnTo>
                          <a:pt x="21087" y="121664"/>
                        </a:lnTo>
                        <a:lnTo>
                          <a:pt x="1615" y="88244"/>
                        </a:ln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8" name="Freeform: Shape 67">
                    <a:extLst>
                      <a:ext uri="{FF2B5EF4-FFF2-40B4-BE49-F238E27FC236}">
                        <a16:creationId xmlns:a16="http://schemas.microsoft.com/office/drawing/2014/main" id="{F0F46242-B485-B4EE-6E36-8115708EF000}"/>
                      </a:ext>
                    </a:extLst>
                  </p:cNvPr>
                  <p:cNvSpPr/>
                  <p:nvPr/>
                </p:nvSpPr>
                <p:spPr>
                  <a:xfrm>
                    <a:off x="12744081" y="3459565"/>
                    <a:ext cx="207913" cy="97794"/>
                  </a:xfrm>
                  <a:custGeom>
                    <a:avLst/>
                    <a:gdLst>
                      <a:gd name="connsiteX0" fmla="*/ 80 w 207913"/>
                      <a:gd name="connsiteY0" fmla="*/ 80977 h 97794"/>
                      <a:gd name="connsiteX1" fmla="*/ 10466 w 207913"/>
                      <a:gd name="connsiteY1" fmla="*/ 95352 h 97794"/>
                      <a:gd name="connsiteX2" fmla="*/ 12809 w 207913"/>
                      <a:gd name="connsiteY2" fmla="*/ 96239 h 97794"/>
                      <a:gd name="connsiteX3" fmla="*/ 24746 w 207913"/>
                      <a:gd name="connsiteY3" fmla="*/ 97790 h 97794"/>
                      <a:gd name="connsiteX4" fmla="*/ 164963 w 207913"/>
                      <a:gd name="connsiteY4" fmla="*/ 96270 h 97794"/>
                      <a:gd name="connsiteX5" fmla="*/ 188061 w 207913"/>
                      <a:gd name="connsiteY5" fmla="*/ 95922 h 97794"/>
                      <a:gd name="connsiteX6" fmla="*/ 202879 w 207913"/>
                      <a:gd name="connsiteY6" fmla="*/ 85046 h 97794"/>
                      <a:gd name="connsiteX7" fmla="*/ 203719 w 207913"/>
                      <a:gd name="connsiteY7" fmla="*/ 81389 h 97794"/>
                      <a:gd name="connsiteX8" fmla="*/ 201486 w 207913"/>
                      <a:gd name="connsiteY8" fmla="*/ 0 h 97794"/>
                      <a:gd name="connsiteX9" fmla="*/ 199127 w 207913"/>
                      <a:gd name="connsiteY9" fmla="*/ 459 h 97794"/>
                      <a:gd name="connsiteX10" fmla="*/ 131005 w 207913"/>
                      <a:gd name="connsiteY10" fmla="*/ 4369 h 97794"/>
                      <a:gd name="connsiteX11" fmla="*/ 124752 w 207913"/>
                      <a:gd name="connsiteY11" fmla="*/ 4734 h 97794"/>
                      <a:gd name="connsiteX12" fmla="*/ 115981 w 207913"/>
                      <a:gd name="connsiteY12" fmla="*/ 22116 h 97794"/>
                      <a:gd name="connsiteX13" fmla="*/ 7489 w 207913"/>
                      <a:gd name="connsiteY13" fmla="*/ 62787 h 97794"/>
                      <a:gd name="connsiteX14" fmla="*/ 96 w 207913"/>
                      <a:gd name="connsiteY14" fmla="*/ 81009 h 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7913" h="97794">
                        <a:moveTo>
                          <a:pt x="80" y="80977"/>
                        </a:moveTo>
                        <a:cubicBezTo>
                          <a:pt x="603" y="86676"/>
                          <a:pt x="3453" y="92265"/>
                          <a:pt x="10466" y="95352"/>
                        </a:cubicBezTo>
                        <a:cubicBezTo>
                          <a:pt x="11194" y="95669"/>
                          <a:pt x="11970" y="95969"/>
                          <a:pt x="12809" y="96239"/>
                        </a:cubicBezTo>
                        <a:cubicBezTo>
                          <a:pt x="16007" y="97268"/>
                          <a:pt x="19965" y="97853"/>
                          <a:pt x="24746" y="97790"/>
                        </a:cubicBezTo>
                        <a:cubicBezTo>
                          <a:pt x="50155" y="97473"/>
                          <a:pt x="121712" y="96824"/>
                          <a:pt x="164963" y="96270"/>
                        </a:cubicBezTo>
                        <a:cubicBezTo>
                          <a:pt x="174193" y="96143"/>
                          <a:pt x="182125" y="96033"/>
                          <a:pt x="188061" y="95922"/>
                        </a:cubicBezTo>
                        <a:cubicBezTo>
                          <a:pt x="195122" y="95795"/>
                          <a:pt x="201217" y="91347"/>
                          <a:pt x="202879" y="85046"/>
                        </a:cubicBezTo>
                        <a:cubicBezTo>
                          <a:pt x="203180" y="83922"/>
                          <a:pt x="203465" y="82703"/>
                          <a:pt x="203719" y="81389"/>
                        </a:cubicBezTo>
                        <a:cubicBezTo>
                          <a:pt x="208927" y="56486"/>
                          <a:pt x="210431" y="617"/>
                          <a:pt x="201486" y="0"/>
                        </a:cubicBezTo>
                        <a:cubicBezTo>
                          <a:pt x="200758" y="174"/>
                          <a:pt x="199967" y="317"/>
                          <a:pt x="199127" y="459"/>
                        </a:cubicBezTo>
                        <a:cubicBezTo>
                          <a:pt x="186272" y="2660"/>
                          <a:pt x="160610" y="2755"/>
                          <a:pt x="131005" y="4369"/>
                        </a:cubicBezTo>
                        <a:cubicBezTo>
                          <a:pt x="128947" y="4480"/>
                          <a:pt x="126857" y="4607"/>
                          <a:pt x="124752" y="4734"/>
                        </a:cubicBezTo>
                        <a:cubicBezTo>
                          <a:pt x="117216" y="5209"/>
                          <a:pt x="118594" y="11937"/>
                          <a:pt x="115981" y="22116"/>
                        </a:cubicBezTo>
                        <a:cubicBezTo>
                          <a:pt x="110029" y="45452"/>
                          <a:pt x="21342" y="60571"/>
                          <a:pt x="7489" y="62787"/>
                        </a:cubicBezTo>
                        <a:cubicBezTo>
                          <a:pt x="3896" y="63373"/>
                          <a:pt x="-727" y="72302"/>
                          <a:pt x="96" y="81009"/>
                        </a:cubicBezTo>
                        <a:close/>
                      </a:path>
                    </a:pathLst>
                  </a:custGeom>
                  <a:solidFill>
                    <a:srgbClr val="1F1F39"/>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30" name="Freeform: Shape 29">
                  <a:extLst>
                    <a:ext uri="{FF2B5EF4-FFF2-40B4-BE49-F238E27FC236}">
                      <a16:creationId xmlns:a16="http://schemas.microsoft.com/office/drawing/2014/main" id="{12AFC339-2CBD-56BC-2AA0-E76C94485C53}"/>
                    </a:ext>
                  </a:extLst>
                </p:cNvPr>
                <p:cNvSpPr/>
                <p:nvPr/>
              </p:nvSpPr>
              <p:spPr>
                <a:xfrm>
                  <a:off x="12578878" y="2464096"/>
                  <a:ext cx="399694" cy="997817"/>
                </a:xfrm>
                <a:custGeom>
                  <a:avLst/>
                  <a:gdLst>
                    <a:gd name="connsiteX0" fmla="*/ 397576 w 399694"/>
                    <a:gd name="connsiteY0" fmla="*/ 227065 h 997817"/>
                    <a:gd name="connsiteX1" fmla="*/ 393903 w 399694"/>
                    <a:gd name="connsiteY1" fmla="*/ 262971 h 997817"/>
                    <a:gd name="connsiteX2" fmla="*/ 378293 w 399694"/>
                    <a:gd name="connsiteY2" fmla="*/ 581734 h 997817"/>
                    <a:gd name="connsiteX3" fmla="*/ 371755 w 399694"/>
                    <a:gd name="connsiteY3" fmla="*/ 967416 h 997817"/>
                    <a:gd name="connsiteX4" fmla="*/ 270957 w 399694"/>
                    <a:gd name="connsiteY4" fmla="*/ 967416 h 997817"/>
                    <a:gd name="connsiteX5" fmla="*/ 253257 w 399694"/>
                    <a:gd name="connsiteY5" fmla="*/ 589824 h 997817"/>
                    <a:gd name="connsiteX6" fmla="*/ 216070 w 399694"/>
                    <a:gd name="connsiteY6" fmla="*/ 278818 h 997817"/>
                    <a:gd name="connsiteX7" fmla="*/ 216070 w 399694"/>
                    <a:gd name="connsiteY7" fmla="*/ 278849 h 997817"/>
                    <a:gd name="connsiteX8" fmla="*/ 199320 w 399694"/>
                    <a:gd name="connsiteY8" fmla="*/ 324760 h 997817"/>
                    <a:gd name="connsiteX9" fmla="*/ 126987 w 399694"/>
                    <a:gd name="connsiteY9" fmla="*/ 558699 h 997817"/>
                    <a:gd name="connsiteX10" fmla="*/ 103667 w 399694"/>
                    <a:gd name="connsiteY10" fmla="*/ 984055 h 997817"/>
                    <a:gd name="connsiteX11" fmla="*/ 1666 w 399694"/>
                    <a:gd name="connsiteY11" fmla="*/ 978720 h 997817"/>
                    <a:gd name="connsiteX12" fmla="*/ 7001 w 399694"/>
                    <a:gd name="connsiteY12" fmla="*/ 549707 h 997817"/>
                    <a:gd name="connsiteX13" fmla="*/ 95594 w 399694"/>
                    <a:gd name="connsiteY13" fmla="*/ 19105 h 997817"/>
                    <a:gd name="connsiteX14" fmla="*/ 395375 w 399694"/>
                    <a:gd name="connsiteY14" fmla="*/ 53538 h 997817"/>
                    <a:gd name="connsiteX15" fmla="*/ 396784 w 399694"/>
                    <a:gd name="connsiteY15" fmla="*/ 89016 h 997817"/>
                    <a:gd name="connsiteX16" fmla="*/ 398240 w 399694"/>
                    <a:gd name="connsiteY16" fmla="*/ 132505 h 997817"/>
                    <a:gd name="connsiteX17" fmla="*/ 397591 w 399694"/>
                    <a:gd name="connsiteY17" fmla="*/ 227065 h 99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9694" h="997817">
                      <a:moveTo>
                        <a:pt x="397576" y="227065"/>
                      </a:moveTo>
                      <a:cubicBezTo>
                        <a:pt x="396689" y="238020"/>
                        <a:pt x="395517" y="249925"/>
                        <a:pt x="393903" y="262971"/>
                      </a:cubicBezTo>
                      <a:cubicBezTo>
                        <a:pt x="387887" y="311889"/>
                        <a:pt x="375206" y="476915"/>
                        <a:pt x="378293" y="581734"/>
                      </a:cubicBezTo>
                      <a:cubicBezTo>
                        <a:pt x="381396" y="686046"/>
                        <a:pt x="371755" y="930054"/>
                        <a:pt x="371755" y="967416"/>
                      </a:cubicBezTo>
                      <a:cubicBezTo>
                        <a:pt x="338683" y="981300"/>
                        <a:pt x="318213" y="976978"/>
                        <a:pt x="270957" y="967416"/>
                      </a:cubicBezTo>
                      <a:cubicBezTo>
                        <a:pt x="270957" y="967416"/>
                        <a:pt x="262566" y="766089"/>
                        <a:pt x="253257" y="589824"/>
                      </a:cubicBezTo>
                      <a:cubicBezTo>
                        <a:pt x="245706" y="446709"/>
                        <a:pt x="243521" y="461052"/>
                        <a:pt x="216070" y="278818"/>
                      </a:cubicBezTo>
                      <a:lnTo>
                        <a:pt x="216070" y="278849"/>
                      </a:lnTo>
                      <a:cubicBezTo>
                        <a:pt x="215737" y="279688"/>
                        <a:pt x="209056" y="297451"/>
                        <a:pt x="199320" y="324760"/>
                      </a:cubicBezTo>
                      <a:cubicBezTo>
                        <a:pt x="178486" y="383067"/>
                        <a:pt x="143673" y="484941"/>
                        <a:pt x="126987" y="558699"/>
                      </a:cubicBezTo>
                      <a:cubicBezTo>
                        <a:pt x="100976" y="673777"/>
                        <a:pt x="114544" y="973717"/>
                        <a:pt x="103667" y="984055"/>
                      </a:cubicBezTo>
                      <a:cubicBezTo>
                        <a:pt x="71229" y="1002372"/>
                        <a:pt x="16310" y="1004145"/>
                        <a:pt x="1666" y="978720"/>
                      </a:cubicBezTo>
                      <a:cubicBezTo>
                        <a:pt x="1666" y="978720"/>
                        <a:pt x="-4539" y="607792"/>
                        <a:pt x="7001" y="549707"/>
                      </a:cubicBezTo>
                      <a:cubicBezTo>
                        <a:pt x="14822" y="510208"/>
                        <a:pt x="80854" y="123101"/>
                        <a:pt x="95594" y="19105"/>
                      </a:cubicBezTo>
                      <a:cubicBezTo>
                        <a:pt x="95594" y="19105"/>
                        <a:pt x="386462" y="-41656"/>
                        <a:pt x="395375" y="53538"/>
                      </a:cubicBezTo>
                      <a:cubicBezTo>
                        <a:pt x="396594" y="66552"/>
                        <a:pt x="396942" y="78045"/>
                        <a:pt x="396784" y="89016"/>
                      </a:cubicBezTo>
                      <a:cubicBezTo>
                        <a:pt x="396562" y="103803"/>
                        <a:pt x="397401" y="117497"/>
                        <a:pt x="398240" y="132505"/>
                      </a:cubicBezTo>
                      <a:cubicBezTo>
                        <a:pt x="399602" y="157043"/>
                        <a:pt x="400948" y="185065"/>
                        <a:pt x="397591" y="227065"/>
                      </a:cubicBezTo>
                      <a:close/>
                    </a:path>
                  </a:pathLst>
                </a:custGeom>
                <a:solidFill>
                  <a:schemeClr val="tx1"/>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 name="Freeform: Shape 30">
                  <a:extLst>
                    <a:ext uri="{FF2B5EF4-FFF2-40B4-BE49-F238E27FC236}">
                      <a16:creationId xmlns:a16="http://schemas.microsoft.com/office/drawing/2014/main" id="{35EA8E6C-D875-00F4-7E23-526B78C2C72D}"/>
                    </a:ext>
                  </a:extLst>
                </p:cNvPr>
                <p:cNvSpPr/>
                <p:nvPr/>
              </p:nvSpPr>
              <p:spPr>
                <a:xfrm>
                  <a:off x="12819708" y="2690227"/>
                  <a:ext cx="854" cy="522"/>
                </a:xfrm>
                <a:custGeom>
                  <a:avLst/>
                  <a:gdLst>
                    <a:gd name="connsiteX0" fmla="*/ 855 w 854"/>
                    <a:gd name="connsiteY0" fmla="*/ 380 h 522"/>
                    <a:gd name="connsiteX1" fmla="*/ 807 w 854"/>
                    <a:gd name="connsiteY1" fmla="*/ 522 h 522"/>
                    <a:gd name="connsiteX2" fmla="*/ 0 w 854"/>
                    <a:gd name="connsiteY2" fmla="*/ 0 h 522"/>
                    <a:gd name="connsiteX3" fmla="*/ 855 w 854"/>
                    <a:gd name="connsiteY3" fmla="*/ 380 h 522"/>
                  </a:gdLst>
                  <a:ahLst/>
                  <a:cxnLst>
                    <a:cxn ang="0">
                      <a:pos x="connsiteX0" y="connsiteY0"/>
                    </a:cxn>
                    <a:cxn ang="0">
                      <a:pos x="connsiteX1" y="connsiteY1"/>
                    </a:cxn>
                    <a:cxn ang="0">
                      <a:pos x="connsiteX2" y="connsiteY2"/>
                    </a:cxn>
                    <a:cxn ang="0">
                      <a:pos x="connsiteX3" y="connsiteY3"/>
                    </a:cxn>
                  </a:cxnLst>
                  <a:rect l="l" t="t" r="r" b="b"/>
                  <a:pathLst>
                    <a:path w="854" h="522">
                      <a:moveTo>
                        <a:pt x="855" y="380"/>
                      </a:moveTo>
                      <a:cubicBezTo>
                        <a:pt x="855" y="380"/>
                        <a:pt x="839" y="443"/>
                        <a:pt x="807" y="522"/>
                      </a:cubicBezTo>
                      <a:cubicBezTo>
                        <a:pt x="285" y="206"/>
                        <a:pt x="63" y="63"/>
                        <a:pt x="0" y="0"/>
                      </a:cubicBezTo>
                      <a:cubicBezTo>
                        <a:pt x="142" y="16"/>
                        <a:pt x="855" y="380"/>
                        <a:pt x="855" y="380"/>
                      </a:cubicBezTo>
                      <a:close/>
                    </a:path>
                  </a:pathLst>
                </a:custGeom>
                <a:solidFill>
                  <a:srgbClr val="1F1F39">
                    <a:alpha val="46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 name="Freeform: Shape 31">
                  <a:extLst>
                    <a:ext uri="{FF2B5EF4-FFF2-40B4-BE49-F238E27FC236}">
                      <a16:creationId xmlns:a16="http://schemas.microsoft.com/office/drawing/2014/main" id="{6A39A60C-9E67-F92B-3AB6-95C986A56713}"/>
                    </a:ext>
                  </a:extLst>
                </p:cNvPr>
                <p:cNvSpPr/>
                <p:nvPr/>
              </p:nvSpPr>
              <p:spPr>
                <a:xfrm>
                  <a:off x="12772103" y="2695435"/>
                  <a:ext cx="22860" cy="110138"/>
                </a:xfrm>
                <a:custGeom>
                  <a:avLst/>
                  <a:gdLst>
                    <a:gd name="connsiteX0" fmla="*/ 22861 w 22860"/>
                    <a:gd name="connsiteY0" fmla="*/ 47478 h 110138"/>
                    <a:gd name="connsiteX1" fmla="*/ 22861 w 22860"/>
                    <a:gd name="connsiteY1" fmla="*/ 47510 h 110138"/>
                    <a:gd name="connsiteX2" fmla="*/ 0 w 22860"/>
                    <a:gd name="connsiteY2" fmla="*/ 110138 h 110138"/>
                    <a:gd name="connsiteX3" fmla="*/ 11430 w 22860"/>
                    <a:gd name="connsiteY3" fmla="*/ 0 h 110138"/>
                    <a:gd name="connsiteX4" fmla="*/ 22861 w 22860"/>
                    <a:gd name="connsiteY4" fmla="*/ 47478 h 11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 h="110138">
                      <a:moveTo>
                        <a:pt x="22861" y="47478"/>
                      </a:moveTo>
                      <a:lnTo>
                        <a:pt x="22861" y="47510"/>
                      </a:lnTo>
                      <a:cubicBezTo>
                        <a:pt x="22528" y="48349"/>
                        <a:pt x="9752" y="82829"/>
                        <a:pt x="0" y="110138"/>
                      </a:cubicBezTo>
                      <a:lnTo>
                        <a:pt x="11430" y="0"/>
                      </a:lnTo>
                      <a:cubicBezTo>
                        <a:pt x="11430" y="0"/>
                        <a:pt x="11019" y="6586"/>
                        <a:pt x="22861" y="47478"/>
                      </a:cubicBezTo>
                      <a:close/>
                    </a:path>
                  </a:pathLst>
                </a:custGeom>
                <a:solidFill>
                  <a:srgbClr val="1F1F39">
                    <a:alpha val="54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 name="Freeform: Shape 32">
                  <a:extLst>
                    <a:ext uri="{FF2B5EF4-FFF2-40B4-BE49-F238E27FC236}">
                      <a16:creationId xmlns:a16="http://schemas.microsoft.com/office/drawing/2014/main" id="{56BDC603-26D2-6142-6B6E-318B19BCC8ED}"/>
                    </a:ext>
                  </a:extLst>
                </p:cNvPr>
                <p:cNvSpPr/>
                <p:nvPr/>
              </p:nvSpPr>
              <p:spPr>
                <a:xfrm>
                  <a:off x="12845703" y="2517333"/>
                  <a:ext cx="130150" cy="77193"/>
                </a:xfrm>
                <a:custGeom>
                  <a:avLst/>
                  <a:gdLst>
                    <a:gd name="connsiteX0" fmla="*/ 129690 w 130150"/>
                    <a:gd name="connsiteY0" fmla="*/ 77193 h 77193"/>
                    <a:gd name="connsiteX1" fmla="*/ 0 w 130150"/>
                    <a:gd name="connsiteY1" fmla="*/ 0 h 77193"/>
                    <a:gd name="connsiteX2" fmla="*/ 128645 w 130150"/>
                    <a:gd name="connsiteY2" fmla="*/ 11209 h 77193"/>
                    <a:gd name="connsiteX3" fmla="*/ 129690 w 130150"/>
                    <a:gd name="connsiteY3" fmla="*/ 77178 h 77193"/>
                  </a:gdLst>
                  <a:ahLst/>
                  <a:cxnLst>
                    <a:cxn ang="0">
                      <a:pos x="connsiteX0" y="connsiteY0"/>
                    </a:cxn>
                    <a:cxn ang="0">
                      <a:pos x="connsiteX1" y="connsiteY1"/>
                    </a:cxn>
                    <a:cxn ang="0">
                      <a:pos x="connsiteX2" y="connsiteY2"/>
                    </a:cxn>
                    <a:cxn ang="0">
                      <a:pos x="connsiteX3" y="connsiteY3"/>
                    </a:cxn>
                  </a:cxnLst>
                  <a:rect l="l" t="t" r="r" b="b"/>
                  <a:pathLst>
                    <a:path w="130150" h="77193">
                      <a:moveTo>
                        <a:pt x="129690" y="77193"/>
                      </a:moveTo>
                      <a:cubicBezTo>
                        <a:pt x="127284" y="76687"/>
                        <a:pt x="15166" y="53779"/>
                        <a:pt x="0" y="0"/>
                      </a:cubicBezTo>
                      <a:cubicBezTo>
                        <a:pt x="0" y="0"/>
                        <a:pt x="97457" y="8026"/>
                        <a:pt x="128645" y="11209"/>
                      </a:cubicBezTo>
                      <a:cubicBezTo>
                        <a:pt x="130007" y="35747"/>
                        <a:pt x="130656" y="63294"/>
                        <a:pt x="129690" y="77178"/>
                      </a:cubicBezTo>
                      <a:close/>
                    </a:path>
                  </a:pathLst>
                </a:custGeom>
                <a:solidFill>
                  <a:srgbClr val="1F1F39">
                    <a:alpha val="35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 name="Freeform: Shape 33">
                  <a:extLst>
                    <a:ext uri="{FF2B5EF4-FFF2-40B4-BE49-F238E27FC236}">
                      <a16:creationId xmlns:a16="http://schemas.microsoft.com/office/drawing/2014/main" id="{E3C9872D-6E82-270A-480A-F494E16A842B}"/>
                    </a:ext>
                  </a:extLst>
                </p:cNvPr>
                <p:cNvSpPr/>
                <p:nvPr/>
              </p:nvSpPr>
              <p:spPr>
                <a:xfrm>
                  <a:off x="12512961" y="1987523"/>
                  <a:ext cx="126555" cy="146772"/>
                </a:xfrm>
                <a:custGeom>
                  <a:avLst/>
                  <a:gdLst>
                    <a:gd name="connsiteX0" fmla="*/ 0 w 126555"/>
                    <a:gd name="connsiteY0" fmla="*/ 37615 h 146772"/>
                    <a:gd name="connsiteX1" fmla="*/ 3625 w 126555"/>
                    <a:gd name="connsiteY1" fmla="*/ 40275 h 146772"/>
                    <a:gd name="connsiteX2" fmla="*/ 18079 w 126555"/>
                    <a:gd name="connsiteY2" fmla="*/ 57024 h 146772"/>
                    <a:gd name="connsiteX3" fmla="*/ 38882 w 126555"/>
                    <a:gd name="connsiteY3" fmla="*/ 91964 h 146772"/>
                    <a:gd name="connsiteX4" fmla="*/ 54666 w 126555"/>
                    <a:gd name="connsiteY4" fmla="*/ 136513 h 146772"/>
                    <a:gd name="connsiteX5" fmla="*/ 114001 w 126555"/>
                    <a:gd name="connsiteY5" fmla="*/ 144983 h 146772"/>
                    <a:gd name="connsiteX6" fmla="*/ 126555 w 126555"/>
                    <a:gd name="connsiteY6" fmla="*/ 69832 h 146772"/>
                    <a:gd name="connsiteX7" fmla="*/ 52671 w 126555"/>
                    <a:gd name="connsiteY7" fmla="*/ 14913 h 146772"/>
                    <a:gd name="connsiteX8" fmla="*/ 491 w 126555"/>
                    <a:gd name="connsiteY8" fmla="*/ 0 h 146772"/>
                    <a:gd name="connsiteX9" fmla="*/ 16 w 126555"/>
                    <a:gd name="connsiteY9" fmla="*/ 37615 h 14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555" h="146772">
                      <a:moveTo>
                        <a:pt x="0" y="37615"/>
                      </a:moveTo>
                      <a:lnTo>
                        <a:pt x="3625" y="40275"/>
                      </a:lnTo>
                      <a:cubicBezTo>
                        <a:pt x="3625" y="40275"/>
                        <a:pt x="10401" y="47383"/>
                        <a:pt x="18079" y="57024"/>
                      </a:cubicBezTo>
                      <a:cubicBezTo>
                        <a:pt x="26486" y="67600"/>
                        <a:pt x="36000" y="81246"/>
                        <a:pt x="38882" y="91964"/>
                      </a:cubicBezTo>
                      <a:cubicBezTo>
                        <a:pt x="42032" y="103679"/>
                        <a:pt x="54349" y="115062"/>
                        <a:pt x="54666" y="136513"/>
                      </a:cubicBezTo>
                      <a:cubicBezTo>
                        <a:pt x="54903" y="152566"/>
                        <a:pt x="114001" y="144983"/>
                        <a:pt x="114001" y="144983"/>
                      </a:cubicBezTo>
                      <a:lnTo>
                        <a:pt x="126555" y="69832"/>
                      </a:lnTo>
                      <a:cubicBezTo>
                        <a:pt x="111801" y="49774"/>
                        <a:pt x="72618" y="25663"/>
                        <a:pt x="52671" y="14913"/>
                      </a:cubicBezTo>
                      <a:cubicBezTo>
                        <a:pt x="30507" y="2960"/>
                        <a:pt x="491" y="0"/>
                        <a:pt x="491" y="0"/>
                      </a:cubicBezTo>
                      <a:lnTo>
                        <a:pt x="16" y="37615"/>
                      </a:lnTo>
                      <a:close/>
                    </a:path>
                  </a:pathLst>
                </a:custGeom>
                <a:solidFill>
                  <a:srgbClr val="EFAEA6"/>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 name="Freeform: Shape 34">
                  <a:extLst>
                    <a:ext uri="{FF2B5EF4-FFF2-40B4-BE49-F238E27FC236}">
                      <a16:creationId xmlns:a16="http://schemas.microsoft.com/office/drawing/2014/main" id="{F5026DE7-5D03-80BF-EF1C-BF2B61B9FBD3}"/>
                    </a:ext>
                  </a:extLst>
                </p:cNvPr>
                <p:cNvSpPr/>
                <p:nvPr/>
              </p:nvSpPr>
              <p:spPr>
                <a:xfrm>
                  <a:off x="12531040" y="2012372"/>
                  <a:ext cx="36548" cy="67114"/>
                </a:xfrm>
                <a:custGeom>
                  <a:avLst/>
                  <a:gdLst>
                    <a:gd name="connsiteX0" fmla="*/ 0 w 36548"/>
                    <a:gd name="connsiteY0" fmla="*/ 32174 h 67114"/>
                    <a:gd name="connsiteX1" fmla="*/ 20802 w 36548"/>
                    <a:gd name="connsiteY1" fmla="*/ 67114 h 67114"/>
                    <a:gd name="connsiteX2" fmla="*/ 21182 w 36548"/>
                    <a:gd name="connsiteY2" fmla="*/ 53 h 67114"/>
                    <a:gd name="connsiteX3" fmla="*/ 8248 w 36548"/>
                    <a:gd name="connsiteY3" fmla="*/ 18116 h 67114"/>
                    <a:gd name="connsiteX4" fmla="*/ 16 w 36548"/>
                    <a:gd name="connsiteY4" fmla="*/ 32174 h 67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8" h="67114">
                      <a:moveTo>
                        <a:pt x="0" y="32174"/>
                      </a:moveTo>
                      <a:cubicBezTo>
                        <a:pt x="8406" y="42750"/>
                        <a:pt x="17921" y="56396"/>
                        <a:pt x="20802" y="67114"/>
                      </a:cubicBezTo>
                      <a:cubicBezTo>
                        <a:pt x="48127" y="34153"/>
                        <a:pt x="34275" y="1968"/>
                        <a:pt x="21182" y="53"/>
                      </a:cubicBezTo>
                      <a:cubicBezTo>
                        <a:pt x="12997" y="-1135"/>
                        <a:pt x="8248" y="18116"/>
                        <a:pt x="8248" y="18116"/>
                      </a:cubicBezTo>
                      <a:lnTo>
                        <a:pt x="16" y="32174"/>
                      </a:lnTo>
                      <a:close/>
                    </a:path>
                  </a:pathLst>
                </a:custGeom>
                <a:solidFill>
                  <a:srgbClr val="1F1F39">
                    <a:alpha val="14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 name="Freeform: Shape 35">
                  <a:extLst>
                    <a:ext uri="{FF2B5EF4-FFF2-40B4-BE49-F238E27FC236}">
                      <a16:creationId xmlns:a16="http://schemas.microsoft.com/office/drawing/2014/main" id="{5F22222F-4539-65A0-8652-E4BED14CDB4F}"/>
                    </a:ext>
                  </a:extLst>
                </p:cNvPr>
                <p:cNvSpPr/>
                <p:nvPr/>
              </p:nvSpPr>
              <p:spPr>
                <a:xfrm>
                  <a:off x="12538449" y="2037407"/>
                  <a:ext cx="390823" cy="506713"/>
                </a:xfrm>
                <a:custGeom>
                  <a:avLst/>
                  <a:gdLst>
                    <a:gd name="connsiteX0" fmla="*/ 100861 w 390823"/>
                    <a:gd name="connsiteY0" fmla="*/ 0 h 506713"/>
                    <a:gd name="connsiteX1" fmla="*/ 63025 w 390823"/>
                    <a:gd name="connsiteY1" fmla="*/ 62613 h 506713"/>
                    <a:gd name="connsiteX2" fmla="*/ 27531 w 390823"/>
                    <a:gd name="connsiteY2" fmla="*/ 39262 h 506713"/>
                    <a:gd name="connsiteX3" fmla="*/ 14090 w 390823"/>
                    <a:gd name="connsiteY3" fmla="*/ 42460 h 506713"/>
                    <a:gd name="connsiteX4" fmla="*/ 178641 w 390823"/>
                    <a:gd name="connsiteY4" fmla="*/ 492718 h 506713"/>
                    <a:gd name="connsiteX5" fmla="*/ 342558 w 390823"/>
                    <a:gd name="connsiteY5" fmla="*/ 475462 h 506713"/>
                    <a:gd name="connsiteX6" fmla="*/ 373714 w 390823"/>
                    <a:gd name="connsiteY6" fmla="*/ 320346 h 506713"/>
                    <a:gd name="connsiteX7" fmla="*/ 202324 w 390823"/>
                    <a:gd name="connsiteY7" fmla="*/ 35383 h 506713"/>
                    <a:gd name="connsiteX8" fmla="*/ 100861 w 390823"/>
                    <a:gd name="connsiteY8" fmla="*/ 0 h 50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823" h="506713">
                      <a:moveTo>
                        <a:pt x="100861" y="0"/>
                      </a:moveTo>
                      <a:cubicBezTo>
                        <a:pt x="72919" y="2834"/>
                        <a:pt x="83162" y="53352"/>
                        <a:pt x="63025" y="62613"/>
                      </a:cubicBezTo>
                      <a:cubicBezTo>
                        <a:pt x="50803" y="68233"/>
                        <a:pt x="35526" y="42602"/>
                        <a:pt x="27531" y="39262"/>
                      </a:cubicBezTo>
                      <a:cubicBezTo>
                        <a:pt x="22607" y="37204"/>
                        <a:pt x="17763" y="34639"/>
                        <a:pt x="14090" y="42460"/>
                      </a:cubicBezTo>
                      <a:cubicBezTo>
                        <a:pt x="-60555" y="201628"/>
                        <a:pt x="186050" y="466834"/>
                        <a:pt x="178641" y="492718"/>
                      </a:cubicBezTo>
                      <a:cubicBezTo>
                        <a:pt x="172577" y="513884"/>
                        <a:pt x="285518" y="513251"/>
                        <a:pt x="342558" y="475462"/>
                      </a:cubicBezTo>
                      <a:cubicBezTo>
                        <a:pt x="420796" y="423646"/>
                        <a:pt x="382500" y="336447"/>
                        <a:pt x="373714" y="320346"/>
                      </a:cubicBezTo>
                      <a:cubicBezTo>
                        <a:pt x="364928" y="304246"/>
                        <a:pt x="202324" y="35383"/>
                        <a:pt x="202324" y="35383"/>
                      </a:cubicBezTo>
                      <a:cubicBezTo>
                        <a:pt x="202324" y="35383"/>
                        <a:pt x="151142" y="18412"/>
                        <a:pt x="100861" y="0"/>
                      </a:cubicBezTo>
                      <a:close/>
                    </a:path>
                  </a:pathLst>
                </a:custGeom>
                <a:solidFill>
                  <a:srgbClr val="FFFFFF"/>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37" name="Graphic 3">
                  <a:extLst>
                    <a:ext uri="{FF2B5EF4-FFF2-40B4-BE49-F238E27FC236}">
                      <a16:creationId xmlns:a16="http://schemas.microsoft.com/office/drawing/2014/main" id="{FB1A493D-C6EB-ABBD-B1D0-AFC8A6B28DE3}"/>
                    </a:ext>
                  </a:extLst>
                </p:cNvPr>
                <p:cNvGrpSpPr/>
                <p:nvPr/>
              </p:nvGrpSpPr>
              <p:grpSpPr>
                <a:xfrm>
                  <a:off x="12818792" y="2521076"/>
                  <a:ext cx="375713" cy="322940"/>
                  <a:chOff x="12818792" y="2521076"/>
                  <a:chExt cx="375713" cy="322940"/>
                </a:xfrm>
              </p:grpSpPr>
              <p:sp>
                <p:nvSpPr>
                  <p:cNvPr id="61" name="Freeform: Shape 60">
                    <a:extLst>
                      <a:ext uri="{FF2B5EF4-FFF2-40B4-BE49-F238E27FC236}">
                        <a16:creationId xmlns:a16="http://schemas.microsoft.com/office/drawing/2014/main" id="{D74AC6F8-B62B-484C-D459-C604D03784A9}"/>
                      </a:ext>
                    </a:extLst>
                  </p:cNvPr>
                  <p:cNvSpPr/>
                  <p:nvPr/>
                </p:nvSpPr>
                <p:spPr>
                  <a:xfrm>
                    <a:off x="12961367" y="2583240"/>
                    <a:ext cx="99073" cy="61598"/>
                  </a:xfrm>
                  <a:custGeom>
                    <a:avLst/>
                    <a:gdLst>
                      <a:gd name="connsiteX0" fmla="*/ 4465 w 99073"/>
                      <a:gd name="connsiteY0" fmla="*/ 9814 h 61598"/>
                      <a:gd name="connsiteX1" fmla="*/ 4480 w 99073"/>
                      <a:gd name="connsiteY1" fmla="*/ 9798 h 61598"/>
                      <a:gd name="connsiteX2" fmla="*/ 4955 w 99073"/>
                      <a:gd name="connsiteY2" fmla="*/ 9197 h 61598"/>
                      <a:gd name="connsiteX3" fmla="*/ 14375 w 99073"/>
                      <a:gd name="connsiteY3" fmla="*/ 3149 h 61598"/>
                      <a:gd name="connsiteX4" fmla="*/ 15151 w 99073"/>
                      <a:gd name="connsiteY4" fmla="*/ 3038 h 61598"/>
                      <a:gd name="connsiteX5" fmla="*/ 16117 w 99073"/>
                      <a:gd name="connsiteY5" fmla="*/ 2959 h 61598"/>
                      <a:gd name="connsiteX6" fmla="*/ 28132 w 99073"/>
                      <a:gd name="connsiteY6" fmla="*/ 2405 h 61598"/>
                      <a:gd name="connsiteX7" fmla="*/ 28180 w 99073"/>
                      <a:gd name="connsiteY7" fmla="*/ 2389 h 61598"/>
                      <a:gd name="connsiteX8" fmla="*/ 28702 w 99073"/>
                      <a:gd name="connsiteY8" fmla="*/ 2389 h 61598"/>
                      <a:gd name="connsiteX9" fmla="*/ 28750 w 99073"/>
                      <a:gd name="connsiteY9" fmla="*/ 2373 h 61598"/>
                      <a:gd name="connsiteX10" fmla="*/ 29668 w 99073"/>
                      <a:gd name="connsiteY10" fmla="*/ 2326 h 61598"/>
                      <a:gd name="connsiteX11" fmla="*/ 42966 w 99073"/>
                      <a:gd name="connsiteY11" fmla="*/ 1709 h 61598"/>
                      <a:gd name="connsiteX12" fmla="*/ 78429 w 99073"/>
                      <a:gd name="connsiteY12" fmla="*/ 15 h 61598"/>
                      <a:gd name="connsiteX13" fmla="*/ 85189 w 99073"/>
                      <a:gd name="connsiteY13" fmla="*/ 1440 h 61598"/>
                      <a:gd name="connsiteX14" fmla="*/ 97109 w 99073"/>
                      <a:gd name="connsiteY14" fmla="*/ 21894 h 61598"/>
                      <a:gd name="connsiteX15" fmla="*/ 97869 w 99073"/>
                      <a:gd name="connsiteY15" fmla="*/ 35334 h 61598"/>
                      <a:gd name="connsiteX16" fmla="*/ 99072 w 99073"/>
                      <a:gd name="connsiteY16" fmla="*/ 56675 h 61598"/>
                      <a:gd name="connsiteX17" fmla="*/ 98772 w 99073"/>
                      <a:gd name="connsiteY17" fmla="*/ 56991 h 61598"/>
                      <a:gd name="connsiteX18" fmla="*/ 87183 w 99073"/>
                      <a:gd name="connsiteY18" fmla="*/ 57546 h 61598"/>
                      <a:gd name="connsiteX19" fmla="*/ 86835 w 99073"/>
                      <a:gd name="connsiteY19" fmla="*/ 57261 h 61598"/>
                      <a:gd name="connsiteX20" fmla="*/ 85632 w 99073"/>
                      <a:gd name="connsiteY20" fmla="*/ 35857 h 61598"/>
                      <a:gd name="connsiteX21" fmla="*/ 85632 w 99073"/>
                      <a:gd name="connsiteY21" fmla="*/ 35857 h 61598"/>
                      <a:gd name="connsiteX22" fmla="*/ 85458 w 99073"/>
                      <a:gd name="connsiteY22" fmla="*/ 32738 h 61598"/>
                      <a:gd name="connsiteX23" fmla="*/ 76687 w 99073"/>
                      <a:gd name="connsiteY23" fmla="*/ 17508 h 61598"/>
                      <a:gd name="connsiteX24" fmla="*/ 71479 w 99073"/>
                      <a:gd name="connsiteY24" fmla="*/ 16368 h 61598"/>
                      <a:gd name="connsiteX25" fmla="*/ 41478 w 99073"/>
                      <a:gd name="connsiteY25" fmla="*/ 17809 h 61598"/>
                      <a:gd name="connsiteX26" fmla="*/ 28512 w 99073"/>
                      <a:gd name="connsiteY26" fmla="*/ 18426 h 61598"/>
                      <a:gd name="connsiteX27" fmla="*/ 28497 w 99073"/>
                      <a:gd name="connsiteY27" fmla="*/ 18426 h 61598"/>
                      <a:gd name="connsiteX28" fmla="*/ 24903 w 99073"/>
                      <a:gd name="connsiteY28" fmla="*/ 18601 h 61598"/>
                      <a:gd name="connsiteX29" fmla="*/ 16306 w 99073"/>
                      <a:gd name="connsiteY29" fmla="*/ 23587 h 61598"/>
                      <a:gd name="connsiteX30" fmla="*/ 12887 w 99073"/>
                      <a:gd name="connsiteY30" fmla="*/ 33292 h 61598"/>
                      <a:gd name="connsiteX31" fmla="*/ 12871 w 99073"/>
                      <a:gd name="connsiteY31" fmla="*/ 36047 h 61598"/>
                      <a:gd name="connsiteX32" fmla="*/ 12871 w 99073"/>
                      <a:gd name="connsiteY32" fmla="*/ 36205 h 61598"/>
                      <a:gd name="connsiteX33" fmla="*/ 13029 w 99073"/>
                      <a:gd name="connsiteY33" fmla="*/ 38896 h 61598"/>
                      <a:gd name="connsiteX34" fmla="*/ 14248 w 99073"/>
                      <a:gd name="connsiteY34" fmla="*/ 60585 h 61598"/>
                      <a:gd name="connsiteX35" fmla="*/ 14248 w 99073"/>
                      <a:gd name="connsiteY35" fmla="*/ 60744 h 61598"/>
                      <a:gd name="connsiteX36" fmla="*/ 13932 w 99073"/>
                      <a:gd name="connsiteY36" fmla="*/ 61044 h 61598"/>
                      <a:gd name="connsiteX37" fmla="*/ 2343 w 99073"/>
                      <a:gd name="connsiteY37" fmla="*/ 61598 h 61598"/>
                      <a:gd name="connsiteX38" fmla="*/ 1995 w 99073"/>
                      <a:gd name="connsiteY38" fmla="*/ 61313 h 61598"/>
                      <a:gd name="connsiteX39" fmla="*/ 1995 w 99073"/>
                      <a:gd name="connsiteY39" fmla="*/ 61155 h 61598"/>
                      <a:gd name="connsiteX40" fmla="*/ 776 w 99073"/>
                      <a:gd name="connsiteY40" fmla="*/ 39403 h 61598"/>
                      <a:gd name="connsiteX41" fmla="*/ 48 w 99073"/>
                      <a:gd name="connsiteY41" fmla="*/ 26500 h 61598"/>
                      <a:gd name="connsiteX42" fmla="*/ 4528 w 99073"/>
                      <a:gd name="connsiteY42" fmla="*/ 9830 h 6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9073" h="61598">
                        <a:moveTo>
                          <a:pt x="4465" y="9814"/>
                        </a:moveTo>
                        <a:cubicBezTo>
                          <a:pt x="4465" y="9814"/>
                          <a:pt x="4480" y="9798"/>
                          <a:pt x="4480" y="9798"/>
                        </a:cubicBezTo>
                        <a:cubicBezTo>
                          <a:pt x="4639" y="9577"/>
                          <a:pt x="4781" y="9387"/>
                          <a:pt x="4955" y="9197"/>
                        </a:cubicBezTo>
                        <a:cubicBezTo>
                          <a:pt x="7409" y="5999"/>
                          <a:pt x="10670" y="3814"/>
                          <a:pt x="14375" y="3149"/>
                        </a:cubicBezTo>
                        <a:cubicBezTo>
                          <a:pt x="14628" y="3102"/>
                          <a:pt x="14897" y="3070"/>
                          <a:pt x="15151" y="3038"/>
                        </a:cubicBezTo>
                        <a:cubicBezTo>
                          <a:pt x="15467" y="2991"/>
                          <a:pt x="15800" y="2975"/>
                          <a:pt x="16117" y="2959"/>
                        </a:cubicBezTo>
                        <a:lnTo>
                          <a:pt x="28132" y="2405"/>
                        </a:lnTo>
                        <a:cubicBezTo>
                          <a:pt x="28132" y="2405"/>
                          <a:pt x="28148" y="2405"/>
                          <a:pt x="28180" y="2389"/>
                        </a:cubicBezTo>
                        <a:lnTo>
                          <a:pt x="28702" y="2389"/>
                        </a:lnTo>
                        <a:cubicBezTo>
                          <a:pt x="28702" y="2389"/>
                          <a:pt x="28718" y="2373"/>
                          <a:pt x="28750" y="2373"/>
                        </a:cubicBezTo>
                        <a:lnTo>
                          <a:pt x="29668" y="2326"/>
                        </a:lnTo>
                        <a:lnTo>
                          <a:pt x="42966" y="1709"/>
                        </a:lnTo>
                        <a:lnTo>
                          <a:pt x="78429" y="15"/>
                        </a:lnTo>
                        <a:cubicBezTo>
                          <a:pt x="80787" y="-96"/>
                          <a:pt x="83099" y="426"/>
                          <a:pt x="85189" y="1440"/>
                        </a:cubicBezTo>
                        <a:cubicBezTo>
                          <a:pt x="91711" y="4542"/>
                          <a:pt x="96587" y="12426"/>
                          <a:pt x="97109" y="21894"/>
                        </a:cubicBezTo>
                        <a:lnTo>
                          <a:pt x="97869" y="35334"/>
                        </a:lnTo>
                        <a:lnTo>
                          <a:pt x="99072" y="56675"/>
                        </a:lnTo>
                        <a:cubicBezTo>
                          <a:pt x="99088" y="56865"/>
                          <a:pt x="98962" y="56976"/>
                          <a:pt x="98772" y="56991"/>
                        </a:cubicBezTo>
                        <a:lnTo>
                          <a:pt x="87183" y="57546"/>
                        </a:lnTo>
                        <a:cubicBezTo>
                          <a:pt x="87009" y="57546"/>
                          <a:pt x="86835" y="57435"/>
                          <a:pt x="86835" y="57261"/>
                        </a:cubicBezTo>
                        <a:lnTo>
                          <a:pt x="85632" y="35857"/>
                        </a:lnTo>
                        <a:lnTo>
                          <a:pt x="85632" y="35857"/>
                        </a:lnTo>
                        <a:cubicBezTo>
                          <a:pt x="85632" y="35857"/>
                          <a:pt x="85458" y="32738"/>
                          <a:pt x="85458" y="32738"/>
                        </a:cubicBezTo>
                        <a:cubicBezTo>
                          <a:pt x="85078" y="25725"/>
                          <a:pt x="81484" y="19851"/>
                          <a:pt x="76687" y="17508"/>
                        </a:cubicBezTo>
                        <a:cubicBezTo>
                          <a:pt x="75072" y="16685"/>
                          <a:pt x="73315" y="16289"/>
                          <a:pt x="71479" y="16368"/>
                        </a:cubicBezTo>
                        <a:lnTo>
                          <a:pt x="41478" y="17809"/>
                        </a:lnTo>
                        <a:lnTo>
                          <a:pt x="28512" y="18426"/>
                        </a:lnTo>
                        <a:lnTo>
                          <a:pt x="28497" y="18426"/>
                        </a:lnTo>
                        <a:lnTo>
                          <a:pt x="24903" y="18601"/>
                        </a:lnTo>
                        <a:cubicBezTo>
                          <a:pt x="21468" y="18759"/>
                          <a:pt x="18428" y="20643"/>
                          <a:pt x="16306" y="23587"/>
                        </a:cubicBezTo>
                        <a:cubicBezTo>
                          <a:pt x="14391" y="26152"/>
                          <a:pt x="13172" y="29540"/>
                          <a:pt x="12887" y="33292"/>
                        </a:cubicBezTo>
                        <a:cubicBezTo>
                          <a:pt x="12823" y="34194"/>
                          <a:pt x="12808" y="35113"/>
                          <a:pt x="12871" y="36047"/>
                        </a:cubicBezTo>
                        <a:lnTo>
                          <a:pt x="12871" y="36205"/>
                        </a:lnTo>
                        <a:lnTo>
                          <a:pt x="13029" y="38896"/>
                        </a:lnTo>
                        <a:lnTo>
                          <a:pt x="14248" y="60585"/>
                        </a:lnTo>
                        <a:lnTo>
                          <a:pt x="14248" y="60744"/>
                        </a:lnTo>
                        <a:cubicBezTo>
                          <a:pt x="14264" y="60902"/>
                          <a:pt x="14122" y="61044"/>
                          <a:pt x="13932" y="61044"/>
                        </a:cubicBezTo>
                        <a:lnTo>
                          <a:pt x="2343" y="61598"/>
                        </a:lnTo>
                        <a:cubicBezTo>
                          <a:pt x="2169" y="61598"/>
                          <a:pt x="1995" y="61488"/>
                          <a:pt x="1995" y="61313"/>
                        </a:cubicBezTo>
                        <a:lnTo>
                          <a:pt x="1995" y="61155"/>
                        </a:lnTo>
                        <a:lnTo>
                          <a:pt x="776" y="39403"/>
                        </a:lnTo>
                        <a:lnTo>
                          <a:pt x="48" y="26500"/>
                        </a:lnTo>
                        <a:cubicBezTo>
                          <a:pt x="-316" y="20041"/>
                          <a:pt x="1425" y="14136"/>
                          <a:pt x="4528" y="9830"/>
                        </a:cubicBezTo>
                        <a:close/>
                      </a:path>
                    </a:pathLst>
                  </a:custGeom>
                  <a:solidFill>
                    <a:srgbClr val="201B2C"/>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2" name="Freeform: Shape 61">
                    <a:extLst>
                      <a:ext uri="{FF2B5EF4-FFF2-40B4-BE49-F238E27FC236}">
                        <a16:creationId xmlns:a16="http://schemas.microsoft.com/office/drawing/2014/main" id="{F3E816AB-16B8-C958-7032-1083FEFE23E2}"/>
                      </a:ext>
                    </a:extLst>
                  </p:cNvPr>
                  <p:cNvSpPr/>
                  <p:nvPr/>
                </p:nvSpPr>
                <p:spPr>
                  <a:xfrm>
                    <a:off x="12965468" y="2521076"/>
                    <a:ext cx="83071" cy="89556"/>
                  </a:xfrm>
                  <a:custGeom>
                    <a:avLst/>
                    <a:gdLst>
                      <a:gd name="connsiteX0" fmla="*/ 24205 w 83071"/>
                      <a:gd name="connsiteY0" fmla="*/ 4505 h 89556"/>
                      <a:gd name="connsiteX1" fmla="*/ 23952 w 83071"/>
                      <a:gd name="connsiteY1" fmla="*/ 4774 h 89556"/>
                      <a:gd name="connsiteX2" fmla="*/ 13614 w 83071"/>
                      <a:gd name="connsiteY2" fmla="*/ 31133 h 89556"/>
                      <a:gd name="connsiteX3" fmla="*/ 3070 w 83071"/>
                      <a:gd name="connsiteY3" fmla="*/ 74274 h 89556"/>
                      <a:gd name="connsiteX4" fmla="*/ 24395 w 83071"/>
                      <a:gd name="connsiteY4" fmla="*/ 64411 h 89556"/>
                      <a:gd name="connsiteX5" fmla="*/ 24316 w 83071"/>
                      <a:gd name="connsiteY5" fmla="*/ 80448 h 89556"/>
                      <a:gd name="connsiteX6" fmla="*/ 64717 w 83071"/>
                      <a:gd name="connsiteY6" fmla="*/ 86385 h 89556"/>
                      <a:gd name="connsiteX7" fmla="*/ 83066 w 83071"/>
                      <a:gd name="connsiteY7" fmla="*/ 49878 h 89556"/>
                      <a:gd name="connsiteX8" fmla="*/ 72158 w 83071"/>
                      <a:gd name="connsiteY8" fmla="*/ 2890 h 89556"/>
                      <a:gd name="connsiteX9" fmla="*/ 24237 w 83071"/>
                      <a:gd name="connsiteY9" fmla="*/ 4521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071" h="89556">
                        <a:moveTo>
                          <a:pt x="24205" y="4505"/>
                        </a:moveTo>
                        <a:cubicBezTo>
                          <a:pt x="24063" y="4537"/>
                          <a:pt x="23968" y="4648"/>
                          <a:pt x="23952" y="4774"/>
                        </a:cubicBezTo>
                        <a:cubicBezTo>
                          <a:pt x="22226" y="17629"/>
                          <a:pt x="18411" y="14273"/>
                          <a:pt x="13614" y="31133"/>
                        </a:cubicBezTo>
                        <a:cubicBezTo>
                          <a:pt x="8801" y="48089"/>
                          <a:pt x="-6460" y="71772"/>
                          <a:pt x="3070" y="74274"/>
                        </a:cubicBezTo>
                        <a:cubicBezTo>
                          <a:pt x="12601" y="76775"/>
                          <a:pt x="19788" y="66516"/>
                          <a:pt x="24395" y="64411"/>
                        </a:cubicBezTo>
                        <a:cubicBezTo>
                          <a:pt x="29002" y="62305"/>
                          <a:pt x="18569" y="72358"/>
                          <a:pt x="24316" y="80448"/>
                        </a:cubicBezTo>
                        <a:cubicBezTo>
                          <a:pt x="30063" y="88538"/>
                          <a:pt x="53968" y="92939"/>
                          <a:pt x="64717" y="86385"/>
                        </a:cubicBezTo>
                        <a:cubicBezTo>
                          <a:pt x="75467" y="79831"/>
                          <a:pt x="82797" y="66738"/>
                          <a:pt x="83066" y="49878"/>
                        </a:cubicBezTo>
                        <a:cubicBezTo>
                          <a:pt x="83335" y="33017"/>
                          <a:pt x="74090" y="10252"/>
                          <a:pt x="72158" y="2890"/>
                        </a:cubicBezTo>
                        <a:cubicBezTo>
                          <a:pt x="70306" y="-4170"/>
                          <a:pt x="27735" y="3840"/>
                          <a:pt x="24237" y="4521"/>
                        </a:cubicBezTo>
                        <a:close/>
                      </a:path>
                    </a:pathLst>
                  </a:custGeom>
                  <a:solidFill>
                    <a:srgbClr val="EEADA5"/>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3" name="Freeform: Shape 62">
                    <a:extLst>
                      <a:ext uri="{FF2B5EF4-FFF2-40B4-BE49-F238E27FC236}">
                        <a16:creationId xmlns:a16="http://schemas.microsoft.com/office/drawing/2014/main" id="{001A7A5F-2B79-82E0-2F48-407F3FD51082}"/>
                      </a:ext>
                    </a:extLst>
                  </p:cNvPr>
                  <p:cNvSpPr/>
                  <p:nvPr/>
                </p:nvSpPr>
                <p:spPr>
                  <a:xfrm>
                    <a:off x="12961351" y="2585582"/>
                    <a:ext cx="29070" cy="59083"/>
                  </a:xfrm>
                  <a:custGeom>
                    <a:avLst/>
                    <a:gdLst>
                      <a:gd name="connsiteX0" fmla="*/ 4465 w 29070"/>
                      <a:gd name="connsiteY0" fmla="*/ 7377 h 59083"/>
                      <a:gd name="connsiteX1" fmla="*/ 4480 w 29070"/>
                      <a:gd name="connsiteY1" fmla="*/ 7362 h 59083"/>
                      <a:gd name="connsiteX2" fmla="*/ 4480 w 29070"/>
                      <a:gd name="connsiteY2" fmla="*/ 7362 h 59083"/>
                      <a:gd name="connsiteX3" fmla="*/ 4892 w 29070"/>
                      <a:gd name="connsiteY3" fmla="*/ 6823 h 59083"/>
                      <a:gd name="connsiteX4" fmla="*/ 14407 w 29070"/>
                      <a:gd name="connsiteY4" fmla="*/ 665 h 59083"/>
                      <a:gd name="connsiteX5" fmla="*/ 15182 w 29070"/>
                      <a:gd name="connsiteY5" fmla="*/ 554 h 59083"/>
                      <a:gd name="connsiteX6" fmla="*/ 16148 w 29070"/>
                      <a:gd name="connsiteY6" fmla="*/ 475 h 59083"/>
                      <a:gd name="connsiteX7" fmla="*/ 28212 w 29070"/>
                      <a:gd name="connsiteY7" fmla="*/ 16 h 59083"/>
                      <a:gd name="connsiteX8" fmla="*/ 28734 w 29070"/>
                      <a:gd name="connsiteY8" fmla="*/ 16 h 59083"/>
                      <a:gd name="connsiteX9" fmla="*/ 28782 w 29070"/>
                      <a:gd name="connsiteY9" fmla="*/ 0 h 59083"/>
                      <a:gd name="connsiteX10" fmla="*/ 29066 w 29070"/>
                      <a:gd name="connsiteY10" fmla="*/ 380 h 59083"/>
                      <a:gd name="connsiteX11" fmla="*/ 28212 w 29070"/>
                      <a:gd name="connsiteY11" fmla="*/ 3625 h 59083"/>
                      <a:gd name="connsiteX12" fmla="*/ 28212 w 29070"/>
                      <a:gd name="connsiteY12" fmla="*/ 3625 h 59083"/>
                      <a:gd name="connsiteX13" fmla="*/ 28196 w 29070"/>
                      <a:gd name="connsiteY13" fmla="*/ 3736 h 59083"/>
                      <a:gd name="connsiteX14" fmla="*/ 28196 w 29070"/>
                      <a:gd name="connsiteY14" fmla="*/ 3800 h 59083"/>
                      <a:gd name="connsiteX15" fmla="*/ 26708 w 29070"/>
                      <a:gd name="connsiteY15" fmla="*/ 9372 h 59083"/>
                      <a:gd name="connsiteX16" fmla="*/ 26708 w 29070"/>
                      <a:gd name="connsiteY16" fmla="*/ 9483 h 59083"/>
                      <a:gd name="connsiteX17" fmla="*/ 26692 w 29070"/>
                      <a:gd name="connsiteY17" fmla="*/ 9530 h 59083"/>
                      <a:gd name="connsiteX18" fmla="*/ 24934 w 29070"/>
                      <a:gd name="connsiteY18" fmla="*/ 16085 h 59083"/>
                      <a:gd name="connsiteX19" fmla="*/ 16338 w 29070"/>
                      <a:gd name="connsiteY19" fmla="*/ 21071 h 59083"/>
                      <a:gd name="connsiteX20" fmla="*/ 16338 w 29070"/>
                      <a:gd name="connsiteY20" fmla="*/ 21071 h 59083"/>
                      <a:gd name="connsiteX21" fmla="*/ 12919 w 29070"/>
                      <a:gd name="connsiteY21" fmla="*/ 30919 h 59083"/>
                      <a:gd name="connsiteX22" fmla="*/ 12903 w 29070"/>
                      <a:gd name="connsiteY22" fmla="*/ 33673 h 59083"/>
                      <a:gd name="connsiteX23" fmla="*/ 12903 w 29070"/>
                      <a:gd name="connsiteY23" fmla="*/ 33832 h 59083"/>
                      <a:gd name="connsiteX24" fmla="*/ 13077 w 29070"/>
                      <a:gd name="connsiteY24" fmla="*/ 36523 h 59083"/>
                      <a:gd name="connsiteX25" fmla="*/ 14280 w 29070"/>
                      <a:gd name="connsiteY25" fmla="*/ 58212 h 59083"/>
                      <a:gd name="connsiteX26" fmla="*/ 14280 w 29070"/>
                      <a:gd name="connsiteY26" fmla="*/ 58275 h 59083"/>
                      <a:gd name="connsiteX27" fmla="*/ 13963 w 29070"/>
                      <a:gd name="connsiteY27" fmla="*/ 58528 h 59083"/>
                      <a:gd name="connsiteX28" fmla="*/ 2375 w 29070"/>
                      <a:gd name="connsiteY28" fmla="*/ 59082 h 59083"/>
                      <a:gd name="connsiteX29" fmla="*/ 2027 w 29070"/>
                      <a:gd name="connsiteY29" fmla="*/ 58782 h 59083"/>
                      <a:gd name="connsiteX30" fmla="*/ 808 w 29070"/>
                      <a:gd name="connsiteY30" fmla="*/ 37029 h 59083"/>
                      <a:gd name="connsiteX31" fmla="*/ 48 w 29070"/>
                      <a:gd name="connsiteY31" fmla="*/ 24000 h 59083"/>
                      <a:gd name="connsiteX32" fmla="*/ 4528 w 29070"/>
                      <a:gd name="connsiteY32" fmla="*/ 7377 h 5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070" h="59083">
                        <a:moveTo>
                          <a:pt x="4465" y="7377"/>
                        </a:moveTo>
                        <a:cubicBezTo>
                          <a:pt x="4465" y="7377"/>
                          <a:pt x="4480" y="7362"/>
                          <a:pt x="4480" y="7362"/>
                        </a:cubicBezTo>
                        <a:lnTo>
                          <a:pt x="4480" y="7362"/>
                        </a:lnTo>
                        <a:cubicBezTo>
                          <a:pt x="4607" y="7172"/>
                          <a:pt x="4734" y="6998"/>
                          <a:pt x="4892" y="6823"/>
                        </a:cubicBezTo>
                        <a:cubicBezTo>
                          <a:pt x="7346" y="3594"/>
                          <a:pt x="10655" y="1362"/>
                          <a:pt x="14407" y="665"/>
                        </a:cubicBezTo>
                        <a:cubicBezTo>
                          <a:pt x="14660" y="617"/>
                          <a:pt x="14929" y="586"/>
                          <a:pt x="15182" y="554"/>
                        </a:cubicBezTo>
                        <a:cubicBezTo>
                          <a:pt x="15499" y="507"/>
                          <a:pt x="15831" y="491"/>
                          <a:pt x="16148" y="475"/>
                        </a:cubicBezTo>
                        <a:lnTo>
                          <a:pt x="28212" y="16"/>
                        </a:lnTo>
                        <a:lnTo>
                          <a:pt x="28734" y="16"/>
                        </a:lnTo>
                        <a:cubicBezTo>
                          <a:pt x="28734" y="16"/>
                          <a:pt x="28750" y="0"/>
                          <a:pt x="28782" y="0"/>
                        </a:cubicBezTo>
                        <a:cubicBezTo>
                          <a:pt x="28956" y="16"/>
                          <a:pt x="29098" y="190"/>
                          <a:pt x="29066" y="380"/>
                        </a:cubicBezTo>
                        <a:lnTo>
                          <a:pt x="28212" y="3625"/>
                        </a:lnTo>
                        <a:lnTo>
                          <a:pt x="28212" y="3625"/>
                        </a:lnTo>
                        <a:cubicBezTo>
                          <a:pt x="28212" y="3625"/>
                          <a:pt x="28196" y="3736"/>
                          <a:pt x="28196" y="3736"/>
                        </a:cubicBezTo>
                        <a:lnTo>
                          <a:pt x="28196" y="3800"/>
                        </a:lnTo>
                        <a:cubicBezTo>
                          <a:pt x="28196" y="3800"/>
                          <a:pt x="26708" y="9372"/>
                          <a:pt x="26708" y="9372"/>
                        </a:cubicBezTo>
                        <a:lnTo>
                          <a:pt x="26708" y="9483"/>
                        </a:lnTo>
                        <a:cubicBezTo>
                          <a:pt x="26708" y="9483"/>
                          <a:pt x="26692" y="9530"/>
                          <a:pt x="26692" y="9530"/>
                        </a:cubicBezTo>
                        <a:lnTo>
                          <a:pt x="24934" y="16085"/>
                        </a:lnTo>
                        <a:cubicBezTo>
                          <a:pt x="21499" y="16259"/>
                          <a:pt x="18475" y="18127"/>
                          <a:pt x="16338" y="21071"/>
                        </a:cubicBezTo>
                        <a:lnTo>
                          <a:pt x="16338" y="21071"/>
                        </a:lnTo>
                        <a:cubicBezTo>
                          <a:pt x="14407" y="23700"/>
                          <a:pt x="13156" y="27119"/>
                          <a:pt x="12919" y="30919"/>
                        </a:cubicBezTo>
                        <a:cubicBezTo>
                          <a:pt x="12855" y="31821"/>
                          <a:pt x="12839" y="32739"/>
                          <a:pt x="12903" y="33673"/>
                        </a:cubicBezTo>
                        <a:lnTo>
                          <a:pt x="12903" y="33832"/>
                        </a:lnTo>
                        <a:lnTo>
                          <a:pt x="13077" y="36523"/>
                        </a:lnTo>
                        <a:lnTo>
                          <a:pt x="14280" y="58212"/>
                        </a:lnTo>
                        <a:lnTo>
                          <a:pt x="14280" y="58275"/>
                        </a:lnTo>
                        <a:cubicBezTo>
                          <a:pt x="14264" y="58433"/>
                          <a:pt x="14138" y="58513"/>
                          <a:pt x="13963" y="58528"/>
                        </a:cubicBezTo>
                        <a:lnTo>
                          <a:pt x="2375" y="59082"/>
                        </a:lnTo>
                        <a:cubicBezTo>
                          <a:pt x="2201" y="59098"/>
                          <a:pt x="2027" y="58956"/>
                          <a:pt x="2027" y="58782"/>
                        </a:cubicBezTo>
                        <a:lnTo>
                          <a:pt x="808" y="37029"/>
                        </a:lnTo>
                        <a:lnTo>
                          <a:pt x="48" y="24000"/>
                        </a:lnTo>
                        <a:cubicBezTo>
                          <a:pt x="-316" y="17573"/>
                          <a:pt x="1425" y="11668"/>
                          <a:pt x="4528" y="7377"/>
                        </a:cubicBezTo>
                        <a:close/>
                      </a:path>
                    </a:pathLst>
                  </a:custGeom>
                  <a:solidFill>
                    <a:srgbClr val="201B2C"/>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64" name="Graphic 3">
                    <a:extLst>
                      <a:ext uri="{FF2B5EF4-FFF2-40B4-BE49-F238E27FC236}">
                        <a16:creationId xmlns:a16="http://schemas.microsoft.com/office/drawing/2014/main" id="{D32D88DB-6446-3D48-35DD-8661A648E8C0}"/>
                      </a:ext>
                    </a:extLst>
                  </p:cNvPr>
                  <p:cNvGrpSpPr/>
                  <p:nvPr/>
                </p:nvGrpSpPr>
                <p:grpSpPr>
                  <a:xfrm>
                    <a:off x="12818792" y="2614703"/>
                    <a:ext cx="375713" cy="229312"/>
                    <a:chOff x="12818792" y="2614703"/>
                    <a:chExt cx="375713" cy="229312"/>
                  </a:xfrm>
                </p:grpSpPr>
                <p:sp>
                  <p:nvSpPr>
                    <p:cNvPr id="65" name="Freeform: Shape 64">
                      <a:extLst>
                        <a:ext uri="{FF2B5EF4-FFF2-40B4-BE49-F238E27FC236}">
                          <a16:creationId xmlns:a16="http://schemas.microsoft.com/office/drawing/2014/main" id="{E89EB7AC-BE72-CA93-73B1-987EFCF96701}"/>
                        </a:ext>
                      </a:extLst>
                    </p:cNvPr>
                    <p:cNvSpPr/>
                    <p:nvPr/>
                  </p:nvSpPr>
                  <p:spPr>
                    <a:xfrm>
                      <a:off x="12818808" y="2614703"/>
                      <a:ext cx="375697" cy="229312"/>
                    </a:xfrm>
                    <a:custGeom>
                      <a:avLst/>
                      <a:gdLst>
                        <a:gd name="connsiteX0" fmla="*/ 29 w 375697"/>
                        <a:gd name="connsiteY0" fmla="*/ 50985 h 229312"/>
                        <a:gd name="connsiteX1" fmla="*/ 8151 w 375697"/>
                        <a:gd name="connsiteY1" fmla="*/ 212448 h 229312"/>
                        <a:gd name="connsiteX2" fmla="*/ 28241 w 375697"/>
                        <a:gd name="connsiteY2" fmla="*/ 229293 h 229312"/>
                        <a:gd name="connsiteX3" fmla="*/ 28478 w 375697"/>
                        <a:gd name="connsiteY3" fmla="*/ 229293 h 229312"/>
                        <a:gd name="connsiteX4" fmla="*/ 342049 w 375697"/>
                        <a:gd name="connsiteY4" fmla="*/ 219636 h 229312"/>
                        <a:gd name="connsiteX5" fmla="*/ 375548 w 375697"/>
                        <a:gd name="connsiteY5" fmla="*/ 185598 h 229312"/>
                        <a:gd name="connsiteX6" fmla="*/ 372841 w 375697"/>
                        <a:gd name="connsiteY6" fmla="*/ 32795 h 229312"/>
                        <a:gd name="connsiteX7" fmla="*/ 330239 w 375697"/>
                        <a:gd name="connsiteY7" fmla="*/ 71 h 229312"/>
                        <a:gd name="connsiteX8" fmla="*/ 51370 w 375697"/>
                        <a:gd name="connsiteY8" fmla="*/ 11771 h 229312"/>
                        <a:gd name="connsiteX9" fmla="*/ 40906 w 375697"/>
                        <a:gd name="connsiteY9" fmla="*/ 12198 h 229312"/>
                        <a:gd name="connsiteX10" fmla="*/ 45 w 375697"/>
                        <a:gd name="connsiteY10" fmla="*/ 50985 h 22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5697" h="229312">
                          <a:moveTo>
                            <a:pt x="29" y="50985"/>
                          </a:moveTo>
                          <a:lnTo>
                            <a:pt x="8151" y="212448"/>
                          </a:lnTo>
                          <a:cubicBezTo>
                            <a:pt x="8642" y="222200"/>
                            <a:pt x="17634" y="229752"/>
                            <a:pt x="28241" y="229293"/>
                          </a:cubicBezTo>
                          <a:lnTo>
                            <a:pt x="28478" y="229293"/>
                          </a:lnTo>
                          <a:cubicBezTo>
                            <a:pt x="28478" y="229293"/>
                            <a:pt x="342049" y="219636"/>
                            <a:pt x="342049" y="219636"/>
                          </a:cubicBezTo>
                          <a:cubicBezTo>
                            <a:pt x="377416" y="218132"/>
                            <a:pt x="376023" y="195176"/>
                            <a:pt x="375548" y="185598"/>
                          </a:cubicBezTo>
                          <a:lnTo>
                            <a:pt x="372841" y="32795"/>
                          </a:lnTo>
                          <a:cubicBezTo>
                            <a:pt x="372366" y="23201"/>
                            <a:pt x="358513" y="-1496"/>
                            <a:pt x="330239" y="71"/>
                          </a:cubicBezTo>
                          <a:lnTo>
                            <a:pt x="51370" y="11771"/>
                          </a:lnTo>
                          <a:lnTo>
                            <a:pt x="40906" y="12198"/>
                          </a:lnTo>
                          <a:cubicBezTo>
                            <a:pt x="17871" y="13180"/>
                            <a:pt x="-1047" y="29280"/>
                            <a:pt x="45" y="50985"/>
                          </a:cubicBezTo>
                          <a:close/>
                        </a:path>
                      </a:pathLst>
                    </a:custGeom>
                    <a:solidFill>
                      <a:srgbClr val="603A3E"/>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6" name="Freeform: Shape 65">
                      <a:extLst>
                        <a:ext uri="{FF2B5EF4-FFF2-40B4-BE49-F238E27FC236}">
                          <a16:creationId xmlns:a16="http://schemas.microsoft.com/office/drawing/2014/main" id="{752A8258-3D12-A45A-13DB-031075A0F162}"/>
                        </a:ext>
                      </a:extLst>
                    </p:cNvPr>
                    <p:cNvSpPr/>
                    <p:nvPr/>
                  </p:nvSpPr>
                  <p:spPr>
                    <a:xfrm>
                      <a:off x="12818792" y="2626490"/>
                      <a:ext cx="51272" cy="217526"/>
                    </a:xfrm>
                    <a:custGeom>
                      <a:avLst/>
                      <a:gdLst>
                        <a:gd name="connsiteX0" fmla="*/ 45 w 51272"/>
                        <a:gd name="connsiteY0" fmla="*/ 39198 h 217526"/>
                        <a:gd name="connsiteX1" fmla="*/ 8167 w 51272"/>
                        <a:gd name="connsiteY1" fmla="*/ 200662 h 217526"/>
                        <a:gd name="connsiteX2" fmla="*/ 28257 w 51272"/>
                        <a:gd name="connsiteY2" fmla="*/ 217506 h 217526"/>
                        <a:gd name="connsiteX3" fmla="*/ 28257 w 51272"/>
                        <a:gd name="connsiteY3" fmla="*/ 217506 h 217526"/>
                        <a:gd name="connsiteX4" fmla="*/ 28557 w 51272"/>
                        <a:gd name="connsiteY4" fmla="*/ 217285 h 217526"/>
                        <a:gd name="connsiteX5" fmla="*/ 30267 w 51272"/>
                        <a:gd name="connsiteY5" fmla="*/ 168746 h 217526"/>
                        <a:gd name="connsiteX6" fmla="*/ 51259 w 51272"/>
                        <a:gd name="connsiteY6" fmla="*/ 380 h 217526"/>
                        <a:gd name="connsiteX7" fmla="*/ 50927 w 51272"/>
                        <a:gd name="connsiteY7" fmla="*/ 0 h 217526"/>
                        <a:gd name="connsiteX8" fmla="*/ 40906 w 51272"/>
                        <a:gd name="connsiteY8" fmla="*/ 412 h 217526"/>
                        <a:gd name="connsiteX9" fmla="*/ 45 w 51272"/>
                        <a:gd name="connsiteY9" fmla="*/ 39198 h 21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72" h="217526">
                          <a:moveTo>
                            <a:pt x="45" y="39198"/>
                          </a:moveTo>
                          <a:lnTo>
                            <a:pt x="8167" y="200662"/>
                          </a:lnTo>
                          <a:cubicBezTo>
                            <a:pt x="8657" y="210414"/>
                            <a:pt x="17649" y="217965"/>
                            <a:pt x="28257" y="217506"/>
                          </a:cubicBezTo>
                          <a:lnTo>
                            <a:pt x="28257" y="217506"/>
                          </a:lnTo>
                          <a:cubicBezTo>
                            <a:pt x="28399" y="217506"/>
                            <a:pt x="28526" y="217411"/>
                            <a:pt x="28557" y="217285"/>
                          </a:cubicBezTo>
                          <a:cubicBezTo>
                            <a:pt x="31660" y="207564"/>
                            <a:pt x="33164" y="192382"/>
                            <a:pt x="30267" y="168746"/>
                          </a:cubicBezTo>
                          <a:cubicBezTo>
                            <a:pt x="23222" y="111357"/>
                            <a:pt x="37866" y="45357"/>
                            <a:pt x="51259" y="380"/>
                          </a:cubicBezTo>
                          <a:cubicBezTo>
                            <a:pt x="51323" y="174"/>
                            <a:pt x="51149" y="0"/>
                            <a:pt x="50927" y="0"/>
                          </a:cubicBezTo>
                          <a:lnTo>
                            <a:pt x="40906" y="412"/>
                          </a:lnTo>
                          <a:cubicBezTo>
                            <a:pt x="17871" y="1393"/>
                            <a:pt x="-1047" y="17494"/>
                            <a:pt x="45" y="39198"/>
                          </a:cubicBezTo>
                          <a:close/>
                        </a:path>
                      </a:pathLst>
                    </a:custGeom>
                    <a:solidFill>
                      <a:srgbClr val="775155"/>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grpSp>
            <p:sp>
              <p:nvSpPr>
                <p:cNvPr id="38" name="Freeform: Shape 37">
                  <a:extLst>
                    <a:ext uri="{FF2B5EF4-FFF2-40B4-BE49-F238E27FC236}">
                      <a16:creationId xmlns:a16="http://schemas.microsoft.com/office/drawing/2014/main" id="{626D523A-A0C0-ADA5-B2D8-BDF5083175BF}"/>
                    </a:ext>
                  </a:extLst>
                </p:cNvPr>
                <p:cNvSpPr/>
                <p:nvPr/>
              </p:nvSpPr>
              <p:spPr>
                <a:xfrm>
                  <a:off x="12273972" y="2079851"/>
                  <a:ext cx="490932" cy="536985"/>
                </a:xfrm>
                <a:custGeom>
                  <a:avLst/>
                  <a:gdLst>
                    <a:gd name="connsiteX0" fmla="*/ 239718 w 490932"/>
                    <a:gd name="connsiteY0" fmla="*/ 352880 h 536985"/>
                    <a:gd name="connsiteX1" fmla="*/ 283380 w 490932"/>
                    <a:gd name="connsiteY1" fmla="*/ 204746 h 536985"/>
                    <a:gd name="connsiteX2" fmla="*/ 308995 w 490932"/>
                    <a:gd name="connsiteY2" fmla="*/ 241301 h 536985"/>
                    <a:gd name="connsiteX3" fmla="*/ 333645 w 490932"/>
                    <a:gd name="connsiteY3" fmla="*/ 325777 h 536985"/>
                    <a:gd name="connsiteX4" fmla="*/ 420859 w 490932"/>
                    <a:gd name="connsiteY4" fmla="*/ 529003 h 536985"/>
                    <a:gd name="connsiteX5" fmla="*/ 487857 w 490932"/>
                    <a:gd name="connsiteY5" fmla="*/ 515119 h 536985"/>
                    <a:gd name="connsiteX6" fmla="*/ 411155 w 490932"/>
                    <a:gd name="connsiteY6" fmla="*/ 276985 h 536985"/>
                    <a:gd name="connsiteX7" fmla="*/ 316658 w 490932"/>
                    <a:gd name="connsiteY7" fmla="*/ 90555 h 536985"/>
                    <a:gd name="connsiteX8" fmla="*/ 278568 w 490932"/>
                    <a:gd name="connsiteY8" fmla="*/ 0 h 536985"/>
                    <a:gd name="connsiteX9" fmla="*/ 175775 w 490932"/>
                    <a:gd name="connsiteY9" fmla="*/ 293687 h 536985"/>
                    <a:gd name="connsiteX10" fmla="*/ 16702 w 490932"/>
                    <a:gd name="connsiteY10" fmla="*/ 430896 h 536985"/>
                    <a:gd name="connsiteX11" fmla="*/ 0 w 490932"/>
                    <a:gd name="connsiteY11" fmla="*/ 445572 h 536985"/>
                    <a:gd name="connsiteX12" fmla="*/ 4164 w 490932"/>
                    <a:gd name="connsiteY12" fmla="*/ 453298 h 536985"/>
                    <a:gd name="connsiteX13" fmla="*/ 17636 w 490932"/>
                    <a:gd name="connsiteY13" fmla="*/ 478280 h 536985"/>
                    <a:gd name="connsiteX14" fmla="*/ 29209 w 490932"/>
                    <a:gd name="connsiteY14" fmla="*/ 499747 h 536985"/>
                    <a:gd name="connsiteX15" fmla="*/ 31694 w 490932"/>
                    <a:gd name="connsiteY15" fmla="*/ 504338 h 536985"/>
                    <a:gd name="connsiteX16" fmla="*/ 239718 w 490932"/>
                    <a:gd name="connsiteY16" fmla="*/ 352848 h 53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0932" h="536985">
                      <a:moveTo>
                        <a:pt x="239718" y="352880"/>
                      </a:moveTo>
                      <a:cubicBezTo>
                        <a:pt x="271475" y="325587"/>
                        <a:pt x="263892" y="255406"/>
                        <a:pt x="283380" y="204746"/>
                      </a:cubicBezTo>
                      <a:cubicBezTo>
                        <a:pt x="287354" y="194424"/>
                        <a:pt x="302805" y="229190"/>
                        <a:pt x="308995" y="241301"/>
                      </a:cubicBezTo>
                      <a:cubicBezTo>
                        <a:pt x="330336" y="282953"/>
                        <a:pt x="330494" y="312811"/>
                        <a:pt x="333645" y="325777"/>
                      </a:cubicBezTo>
                      <a:cubicBezTo>
                        <a:pt x="341719" y="359038"/>
                        <a:pt x="364547" y="503341"/>
                        <a:pt x="420859" y="529003"/>
                      </a:cubicBezTo>
                      <a:cubicBezTo>
                        <a:pt x="456670" y="545294"/>
                        <a:pt x="477330" y="534639"/>
                        <a:pt x="487857" y="515119"/>
                      </a:cubicBezTo>
                      <a:cubicBezTo>
                        <a:pt x="505937" y="481652"/>
                        <a:pt x="439604" y="385112"/>
                        <a:pt x="411155" y="276985"/>
                      </a:cubicBezTo>
                      <a:cubicBezTo>
                        <a:pt x="389165" y="193411"/>
                        <a:pt x="332410" y="160529"/>
                        <a:pt x="316658" y="90555"/>
                      </a:cubicBezTo>
                      <a:cubicBezTo>
                        <a:pt x="304753" y="37599"/>
                        <a:pt x="278568" y="0"/>
                        <a:pt x="278568" y="0"/>
                      </a:cubicBezTo>
                      <a:cubicBezTo>
                        <a:pt x="167559" y="102524"/>
                        <a:pt x="186034" y="282668"/>
                        <a:pt x="175775" y="293687"/>
                      </a:cubicBezTo>
                      <a:cubicBezTo>
                        <a:pt x="144667" y="327059"/>
                        <a:pt x="60317" y="397382"/>
                        <a:pt x="16702" y="430896"/>
                      </a:cubicBezTo>
                      <a:cubicBezTo>
                        <a:pt x="7647" y="437846"/>
                        <a:pt x="1631" y="442992"/>
                        <a:pt x="0" y="445572"/>
                      </a:cubicBezTo>
                      <a:lnTo>
                        <a:pt x="4164" y="453298"/>
                      </a:lnTo>
                      <a:lnTo>
                        <a:pt x="17636" y="478280"/>
                      </a:lnTo>
                      <a:lnTo>
                        <a:pt x="29209" y="499747"/>
                      </a:lnTo>
                      <a:lnTo>
                        <a:pt x="31694" y="504338"/>
                      </a:lnTo>
                      <a:cubicBezTo>
                        <a:pt x="40259" y="506032"/>
                        <a:pt x="185036" y="399820"/>
                        <a:pt x="239718" y="352848"/>
                      </a:cubicBezTo>
                      <a:close/>
                    </a:path>
                  </a:pathLst>
                </a:custGeom>
                <a:solidFill>
                  <a:srgbClr val="00AC2D"/>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 name="Freeform: Shape 38">
                  <a:extLst>
                    <a:ext uri="{FF2B5EF4-FFF2-40B4-BE49-F238E27FC236}">
                      <a16:creationId xmlns:a16="http://schemas.microsoft.com/office/drawing/2014/main" id="{F7242986-C252-C573-FFF5-DA87A85CA477}"/>
                    </a:ext>
                  </a:extLst>
                </p:cNvPr>
                <p:cNvSpPr/>
                <p:nvPr/>
              </p:nvSpPr>
              <p:spPr>
                <a:xfrm>
                  <a:off x="12633880" y="2036845"/>
                  <a:ext cx="372790" cy="509924"/>
                </a:xfrm>
                <a:custGeom>
                  <a:avLst/>
                  <a:gdLst>
                    <a:gd name="connsiteX0" fmla="*/ 92724 w 372790"/>
                    <a:gd name="connsiteY0" fmla="*/ 248908 h 509924"/>
                    <a:gd name="connsiteX1" fmla="*/ 178577 w 372790"/>
                    <a:gd name="connsiteY1" fmla="*/ 381004 h 509924"/>
                    <a:gd name="connsiteX2" fmla="*/ 245844 w 372790"/>
                    <a:gd name="connsiteY2" fmla="*/ 501211 h 509924"/>
                    <a:gd name="connsiteX3" fmla="*/ 369867 w 372790"/>
                    <a:gd name="connsiteY3" fmla="*/ 466715 h 509924"/>
                    <a:gd name="connsiteX4" fmla="*/ 275940 w 372790"/>
                    <a:gd name="connsiteY4" fmla="*/ 289293 h 509924"/>
                    <a:gd name="connsiteX5" fmla="*/ 258034 w 372790"/>
                    <a:gd name="connsiteY5" fmla="*/ 254813 h 509924"/>
                    <a:gd name="connsiteX6" fmla="*/ 249612 w 372790"/>
                    <a:gd name="connsiteY6" fmla="*/ 229673 h 509924"/>
                    <a:gd name="connsiteX7" fmla="*/ 249612 w 372790"/>
                    <a:gd name="connsiteY7" fmla="*/ 229673 h 509924"/>
                    <a:gd name="connsiteX8" fmla="*/ 244055 w 372790"/>
                    <a:gd name="connsiteY8" fmla="*/ 212147 h 509924"/>
                    <a:gd name="connsiteX9" fmla="*/ 227892 w 372790"/>
                    <a:gd name="connsiteY9" fmla="*/ 166316 h 509924"/>
                    <a:gd name="connsiteX10" fmla="*/ 213469 w 372790"/>
                    <a:gd name="connsiteY10" fmla="*/ 131519 h 509924"/>
                    <a:gd name="connsiteX11" fmla="*/ 132096 w 372790"/>
                    <a:gd name="connsiteY11" fmla="*/ 21618 h 509924"/>
                    <a:gd name="connsiteX12" fmla="*/ 0 w 372790"/>
                    <a:gd name="connsiteY12" fmla="*/ 1892 h 509924"/>
                    <a:gd name="connsiteX13" fmla="*/ 92740 w 372790"/>
                    <a:gd name="connsiteY13" fmla="*/ 248908 h 50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2790" h="509924">
                      <a:moveTo>
                        <a:pt x="92724" y="248908"/>
                      </a:moveTo>
                      <a:cubicBezTo>
                        <a:pt x="112956" y="291953"/>
                        <a:pt x="154086" y="349468"/>
                        <a:pt x="178577" y="381004"/>
                      </a:cubicBezTo>
                      <a:cubicBezTo>
                        <a:pt x="222667" y="437807"/>
                        <a:pt x="208277" y="483781"/>
                        <a:pt x="245844" y="501211"/>
                      </a:cubicBezTo>
                      <a:cubicBezTo>
                        <a:pt x="291154" y="522235"/>
                        <a:pt x="340721" y="503064"/>
                        <a:pt x="369867" y="466715"/>
                      </a:cubicBezTo>
                      <a:cubicBezTo>
                        <a:pt x="388500" y="443474"/>
                        <a:pt x="313428" y="350260"/>
                        <a:pt x="275940" y="289293"/>
                      </a:cubicBezTo>
                      <a:cubicBezTo>
                        <a:pt x="267676" y="275868"/>
                        <a:pt x="261248" y="264011"/>
                        <a:pt x="258034" y="254813"/>
                      </a:cubicBezTo>
                      <a:cubicBezTo>
                        <a:pt x="254615" y="245013"/>
                        <a:pt x="251939" y="236876"/>
                        <a:pt x="249612" y="229673"/>
                      </a:cubicBezTo>
                      <a:lnTo>
                        <a:pt x="249612" y="229673"/>
                      </a:lnTo>
                      <a:cubicBezTo>
                        <a:pt x="247554" y="223261"/>
                        <a:pt x="245781" y="217609"/>
                        <a:pt x="244055" y="212147"/>
                      </a:cubicBezTo>
                      <a:cubicBezTo>
                        <a:pt x="239718" y="198406"/>
                        <a:pt x="235633" y="185915"/>
                        <a:pt x="227892" y="166316"/>
                      </a:cubicBezTo>
                      <a:cubicBezTo>
                        <a:pt x="224092" y="156754"/>
                        <a:pt x="219438" y="145466"/>
                        <a:pt x="213469" y="131519"/>
                      </a:cubicBezTo>
                      <a:cubicBezTo>
                        <a:pt x="195200" y="88980"/>
                        <a:pt x="160260" y="34489"/>
                        <a:pt x="132096" y="21618"/>
                      </a:cubicBezTo>
                      <a:cubicBezTo>
                        <a:pt x="65114" y="-9032"/>
                        <a:pt x="0" y="1892"/>
                        <a:pt x="0" y="1892"/>
                      </a:cubicBezTo>
                      <a:cubicBezTo>
                        <a:pt x="7710" y="29407"/>
                        <a:pt x="49742" y="157308"/>
                        <a:pt x="92740" y="248908"/>
                      </a:cubicBezTo>
                      <a:close/>
                    </a:path>
                  </a:pathLst>
                </a:custGeom>
                <a:solidFill>
                  <a:srgbClr val="00AC2D"/>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 name="Freeform: Shape 39">
                  <a:extLst>
                    <a:ext uri="{FF2B5EF4-FFF2-40B4-BE49-F238E27FC236}">
                      <a16:creationId xmlns:a16="http://schemas.microsoft.com/office/drawing/2014/main" id="{431E8F35-17D2-D4D3-33AA-0E40E3BBB604}"/>
                    </a:ext>
                  </a:extLst>
                </p:cNvPr>
                <p:cNvSpPr/>
                <p:nvPr/>
              </p:nvSpPr>
              <p:spPr>
                <a:xfrm>
                  <a:off x="12678768" y="2054792"/>
                  <a:ext cx="368462" cy="495628"/>
                </a:xfrm>
                <a:custGeom>
                  <a:avLst/>
                  <a:gdLst>
                    <a:gd name="connsiteX0" fmla="*/ 40522 w 368462"/>
                    <a:gd name="connsiteY0" fmla="*/ 92326 h 495628"/>
                    <a:gd name="connsiteX1" fmla="*/ 267416 w 368462"/>
                    <a:gd name="connsiteY1" fmla="*/ 266613 h 495628"/>
                    <a:gd name="connsiteX2" fmla="*/ 298841 w 368462"/>
                    <a:gd name="connsiteY2" fmla="*/ 495629 h 495628"/>
                    <a:gd name="connsiteX3" fmla="*/ 368214 w 368462"/>
                    <a:gd name="connsiteY3" fmla="*/ 475475 h 495628"/>
                    <a:gd name="connsiteX4" fmla="*/ 343422 w 368462"/>
                    <a:gd name="connsiteY4" fmla="*/ 229204 h 495628"/>
                    <a:gd name="connsiteX5" fmla="*/ 86686 w 368462"/>
                    <a:gd name="connsiteY5" fmla="*/ 3797 h 495628"/>
                    <a:gd name="connsiteX6" fmla="*/ 1513 w 368462"/>
                    <a:gd name="connsiteY6" fmla="*/ 42964 h 495628"/>
                    <a:gd name="connsiteX7" fmla="*/ 40538 w 368462"/>
                    <a:gd name="connsiteY7" fmla="*/ 92326 h 49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462" h="495628">
                      <a:moveTo>
                        <a:pt x="40522" y="92326"/>
                      </a:moveTo>
                      <a:cubicBezTo>
                        <a:pt x="248419" y="249863"/>
                        <a:pt x="251617" y="234095"/>
                        <a:pt x="267416" y="266613"/>
                      </a:cubicBezTo>
                      <a:cubicBezTo>
                        <a:pt x="283216" y="299130"/>
                        <a:pt x="298841" y="495629"/>
                        <a:pt x="298841" y="495629"/>
                      </a:cubicBezTo>
                      <a:cubicBezTo>
                        <a:pt x="298841" y="495629"/>
                        <a:pt x="365507" y="486573"/>
                        <a:pt x="368214" y="475475"/>
                      </a:cubicBezTo>
                      <a:cubicBezTo>
                        <a:pt x="370921" y="464378"/>
                        <a:pt x="350784" y="249373"/>
                        <a:pt x="343422" y="229204"/>
                      </a:cubicBezTo>
                      <a:cubicBezTo>
                        <a:pt x="318900" y="162031"/>
                        <a:pt x="110164" y="16083"/>
                        <a:pt x="86686" y="3797"/>
                      </a:cubicBezTo>
                      <a:cubicBezTo>
                        <a:pt x="63208" y="-8488"/>
                        <a:pt x="-11516" y="10209"/>
                        <a:pt x="1513" y="42964"/>
                      </a:cubicBezTo>
                      <a:cubicBezTo>
                        <a:pt x="14543" y="75719"/>
                        <a:pt x="40538" y="92326"/>
                        <a:pt x="40538" y="92326"/>
                      </a:cubicBezTo>
                      <a:close/>
                    </a:path>
                  </a:pathLst>
                </a:custGeom>
                <a:solidFill>
                  <a:srgbClr val="00AC2D"/>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41" name="Graphic 3">
                  <a:extLst>
                    <a:ext uri="{FF2B5EF4-FFF2-40B4-BE49-F238E27FC236}">
                      <a16:creationId xmlns:a16="http://schemas.microsoft.com/office/drawing/2014/main" id="{2C1B3400-A463-87E1-619D-DEB1055B4DAE}"/>
                    </a:ext>
                  </a:extLst>
                </p:cNvPr>
                <p:cNvGrpSpPr/>
                <p:nvPr/>
              </p:nvGrpSpPr>
              <p:grpSpPr>
                <a:xfrm>
                  <a:off x="12412892" y="1916704"/>
                  <a:ext cx="150097" cy="175512"/>
                  <a:chOff x="12412892" y="1916704"/>
                  <a:chExt cx="150097" cy="175512"/>
                </a:xfrm>
              </p:grpSpPr>
              <p:sp>
                <p:nvSpPr>
                  <p:cNvPr id="58" name="Freeform: Shape 57">
                    <a:extLst>
                      <a:ext uri="{FF2B5EF4-FFF2-40B4-BE49-F238E27FC236}">
                        <a16:creationId xmlns:a16="http://schemas.microsoft.com/office/drawing/2014/main" id="{066AE657-F824-D2A4-157F-7882AD98725C}"/>
                      </a:ext>
                    </a:extLst>
                  </p:cNvPr>
                  <p:cNvSpPr/>
                  <p:nvPr/>
                </p:nvSpPr>
                <p:spPr>
                  <a:xfrm>
                    <a:off x="12450317" y="1955068"/>
                    <a:ext cx="107800" cy="137148"/>
                  </a:xfrm>
                  <a:custGeom>
                    <a:avLst/>
                    <a:gdLst>
                      <a:gd name="connsiteX0" fmla="*/ 0 w 107800"/>
                      <a:gd name="connsiteY0" fmla="*/ 60064 h 137148"/>
                      <a:gd name="connsiteX1" fmla="*/ 33135 w 107800"/>
                      <a:gd name="connsiteY1" fmla="*/ 111167 h 137148"/>
                      <a:gd name="connsiteX2" fmla="*/ 71193 w 107800"/>
                      <a:gd name="connsiteY2" fmla="*/ 135658 h 137148"/>
                      <a:gd name="connsiteX3" fmla="*/ 105547 w 107800"/>
                      <a:gd name="connsiteY3" fmla="*/ 49742 h 137148"/>
                      <a:gd name="connsiteX4" fmla="*/ 62644 w 107800"/>
                      <a:gd name="connsiteY4" fmla="*/ 0 h 137148"/>
                      <a:gd name="connsiteX5" fmla="*/ 0 w 107800"/>
                      <a:gd name="connsiteY5" fmla="*/ 60064 h 13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800" h="137148">
                        <a:moveTo>
                          <a:pt x="0" y="60064"/>
                        </a:moveTo>
                        <a:cubicBezTo>
                          <a:pt x="12681" y="76386"/>
                          <a:pt x="22844" y="120967"/>
                          <a:pt x="33135" y="111167"/>
                        </a:cubicBezTo>
                        <a:cubicBezTo>
                          <a:pt x="43425" y="101368"/>
                          <a:pt x="59890" y="145696"/>
                          <a:pt x="71193" y="135658"/>
                        </a:cubicBezTo>
                        <a:cubicBezTo>
                          <a:pt x="98597" y="111342"/>
                          <a:pt x="113827" y="65732"/>
                          <a:pt x="105547" y="49742"/>
                        </a:cubicBezTo>
                        <a:cubicBezTo>
                          <a:pt x="97267" y="33752"/>
                          <a:pt x="62644" y="0"/>
                          <a:pt x="62644" y="0"/>
                        </a:cubicBezTo>
                        <a:lnTo>
                          <a:pt x="0" y="60064"/>
                        </a:lnTo>
                        <a:close/>
                      </a:path>
                    </a:pathLst>
                  </a:custGeom>
                  <a:solidFill>
                    <a:srgbClr val="EFAEA6"/>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9" name="Freeform: Shape 58">
                    <a:extLst>
                      <a:ext uri="{FF2B5EF4-FFF2-40B4-BE49-F238E27FC236}">
                        <a16:creationId xmlns:a16="http://schemas.microsoft.com/office/drawing/2014/main" id="{3A8FEA56-FD23-226F-B222-EE209F84E143}"/>
                      </a:ext>
                    </a:extLst>
                  </p:cNvPr>
                  <p:cNvSpPr/>
                  <p:nvPr/>
                </p:nvSpPr>
                <p:spPr>
                  <a:xfrm>
                    <a:off x="12466559" y="1956699"/>
                    <a:ext cx="91561" cy="135516"/>
                  </a:xfrm>
                  <a:custGeom>
                    <a:avLst/>
                    <a:gdLst>
                      <a:gd name="connsiteX0" fmla="*/ 90207 w 91561"/>
                      <a:gd name="connsiteY0" fmla="*/ 50217 h 135516"/>
                      <a:gd name="connsiteX1" fmla="*/ 71748 w 91561"/>
                      <a:gd name="connsiteY1" fmla="*/ 114555 h 135516"/>
                      <a:gd name="connsiteX2" fmla="*/ 54966 w 91561"/>
                      <a:gd name="connsiteY2" fmla="*/ 134028 h 135516"/>
                      <a:gd name="connsiteX3" fmla="*/ 31884 w 91561"/>
                      <a:gd name="connsiteY3" fmla="*/ 117294 h 135516"/>
                      <a:gd name="connsiteX4" fmla="*/ 16908 w 91561"/>
                      <a:gd name="connsiteY4" fmla="*/ 109537 h 135516"/>
                      <a:gd name="connsiteX5" fmla="*/ 0 w 91561"/>
                      <a:gd name="connsiteY5" fmla="*/ 91030 h 135516"/>
                      <a:gd name="connsiteX6" fmla="*/ 13662 w 91561"/>
                      <a:gd name="connsiteY6" fmla="*/ 59526 h 135516"/>
                      <a:gd name="connsiteX7" fmla="*/ 48064 w 91561"/>
                      <a:gd name="connsiteY7" fmla="*/ 0 h 135516"/>
                      <a:gd name="connsiteX8" fmla="*/ 89320 w 91561"/>
                      <a:gd name="connsiteY8" fmla="*/ 48111 h 135516"/>
                      <a:gd name="connsiteX9" fmla="*/ 90223 w 91561"/>
                      <a:gd name="connsiteY9" fmla="*/ 50217 h 13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561" h="135516">
                        <a:moveTo>
                          <a:pt x="90207" y="50217"/>
                        </a:moveTo>
                        <a:cubicBezTo>
                          <a:pt x="94861" y="63594"/>
                          <a:pt x="87231" y="91632"/>
                          <a:pt x="71748" y="114555"/>
                        </a:cubicBezTo>
                        <a:cubicBezTo>
                          <a:pt x="66887" y="121759"/>
                          <a:pt x="61236" y="128439"/>
                          <a:pt x="54966" y="134028"/>
                        </a:cubicBezTo>
                        <a:cubicBezTo>
                          <a:pt x="48285" y="139949"/>
                          <a:pt x="39816" y="126935"/>
                          <a:pt x="31884" y="117294"/>
                        </a:cubicBezTo>
                        <a:cubicBezTo>
                          <a:pt x="26375" y="110597"/>
                          <a:pt x="21119" y="105516"/>
                          <a:pt x="16908" y="109537"/>
                        </a:cubicBezTo>
                        <a:cubicBezTo>
                          <a:pt x="11367" y="114809"/>
                          <a:pt x="5874" y="104344"/>
                          <a:pt x="0" y="91030"/>
                        </a:cubicBezTo>
                        <a:cubicBezTo>
                          <a:pt x="2770" y="82117"/>
                          <a:pt x="7615" y="71304"/>
                          <a:pt x="13662" y="59526"/>
                        </a:cubicBezTo>
                        <a:cubicBezTo>
                          <a:pt x="23272" y="40813"/>
                          <a:pt x="35905" y="19678"/>
                          <a:pt x="48064" y="0"/>
                        </a:cubicBezTo>
                        <a:cubicBezTo>
                          <a:pt x="55030" y="6902"/>
                          <a:pt x="82117" y="34227"/>
                          <a:pt x="89320" y="48111"/>
                        </a:cubicBezTo>
                        <a:cubicBezTo>
                          <a:pt x="89653" y="48760"/>
                          <a:pt x="89969" y="49473"/>
                          <a:pt x="90223" y="50217"/>
                        </a:cubicBezTo>
                        <a:close/>
                      </a:path>
                    </a:pathLst>
                  </a:custGeom>
                  <a:solidFill>
                    <a:srgbClr val="EFAEA6"/>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0" name="Freeform: Shape 59">
                    <a:extLst>
                      <a:ext uri="{FF2B5EF4-FFF2-40B4-BE49-F238E27FC236}">
                        <a16:creationId xmlns:a16="http://schemas.microsoft.com/office/drawing/2014/main" id="{42C8B0FE-7A5B-814C-DFAF-2E13C184B321}"/>
                      </a:ext>
                    </a:extLst>
                  </p:cNvPr>
                  <p:cNvSpPr/>
                  <p:nvPr/>
                </p:nvSpPr>
                <p:spPr>
                  <a:xfrm>
                    <a:off x="12412892" y="1916704"/>
                    <a:ext cx="150097" cy="107448"/>
                  </a:xfrm>
                  <a:custGeom>
                    <a:avLst/>
                    <a:gdLst>
                      <a:gd name="connsiteX0" fmla="*/ 78238 w 150097"/>
                      <a:gd name="connsiteY0" fmla="*/ 87030 h 107448"/>
                      <a:gd name="connsiteX1" fmla="*/ 63831 w 150097"/>
                      <a:gd name="connsiteY1" fmla="*/ 100898 h 107448"/>
                      <a:gd name="connsiteX2" fmla="*/ 45499 w 150097"/>
                      <a:gd name="connsiteY2" fmla="*/ 94581 h 107448"/>
                      <a:gd name="connsiteX3" fmla="*/ 7630 w 150097"/>
                      <a:gd name="connsiteY3" fmla="*/ 102544 h 107448"/>
                      <a:gd name="connsiteX4" fmla="*/ 19915 w 150097"/>
                      <a:gd name="connsiteY4" fmla="*/ 66386 h 107448"/>
                      <a:gd name="connsiteX5" fmla="*/ 29762 w 150097"/>
                      <a:gd name="connsiteY5" fmla="*/ 34897 h 107448"/>
                      <a:gd name="connsiteX6" fmla="*/ 54063 w 150097"/>
                      <a:gd name="connsiteY6" fmla="*/ 25129 h 107448"/>
                      <a:gd name="connsiteX7" fmla="*/ 76671 w 150097"/>
                      <a:gd name="connsiteY7" fmla="*/ 211 h 107448"/>
                      <a:gd name="connsiteX8" fmla="*/ 128502 w 150097"/>
                      <a:gd name="connsiteY8" fmla="*/ 24797 h 107448"/>
                      <a:gd name="connsiteX9" fmla="*/ 143875 w 150097"/>
                      <a:gd name="connsiteY9" fmla="*/ 90227 h 107448"/>
                      <a:gd name="connsiteX10" fmla="*/ 119684 w 150097"/>
                      <a:gd name="connsiteY10" fmla="*/ 69172 h 107448"/>
                      <a:gd name="connsiteX11" fmla="*/ 111310 w 150097"/>
                      <a:gd name="connsiteY11" fmla="*/ 88961 h 107448"/>
                      <a:gd name="connsiteX12" fmla="*/ 95684 w 150097"/>
                      <a:gd name="connsiteY12" fmla="*/ 93885 h 107448"/>
                      <a:gd name="connsiteX13" fmla="*/ 78238 w 150097"/>
                      <a:gd name="connsiteY13" fmla="*/ 87014 h 107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097" h="107448">
                        <a:moveTo>
                          <a:pt x="78238" y="87030"/>
                        </a:moveTo>
                        <a:cubicBezTo>
                          <a:pt x="70750" y="95943"/>
                          <a:pt x="72301" y="98143"/>
                          <a:pt x="63831" y="100898"/>
                        </a:cubicBezTo>
                        <a:cubicBezTo>
                          <a:pt x="55362" y="103652"/>
                          <a:pt x="58116" y="86001"/>
                          <a:pt x="45499" y="94581"/>
                        </a:cubicBezTo>
                        <a:cubicBezTo>
                          <a:pt x="32881" y="103162"/>
                          <a:pt x="20232" y="113879"/>
                          <a:pt x="7630" y="102544"/>
                        </a:cubicBezTo>
                        <a:cubicBezTo>
                          <a:pt x="-10607" y="86143"/>
                          <a:pt x="8058" y="73715"/>
                          <a:pt x="19915" y="66386"/>
                        </a:cubicBezTo>
                        <a:cubicBezTo>
                          <a:pt x="27546" y="61668"/>
                          <a:pt x="16433" y="46406"/>
                          <a:pt x="29762" y="34897"/>
                        </a:cubicBezTo>
                        <a:cubicBezTo>
                          <a:pt x="40211" y="25873"/>
                          <a:pt x="44391" y="32776"/>
                          <a:pt x="54063" y="25129"/>
                        </a:cubicBezTo>
                        <a:cubicBezTo>
                          <a:pt x="59905" y="20506"/>
                          <a:pt x="62328" y="1746"/>
                          <a:pt x="76671" y="211"/>
                        </a:cubicBezTo>
                        <a:cubicBezTo>
                          <a:pt x="103283" y="-2639"/>
                          <a:pt x="103774" y="24353"/>
                          <a:pt x="128502" y="24797"/>
                        </a:cubicBezTo>
                        <a:cubicBezTo>
                          <a:pt x="157347" y="25319"/>
                          <a:pt x="151474" y="90212"/>
                          <a:pt x="143875" y="90227"/>
                        </a:cubicBezTo>
                        <a:cubicBezTo>
                          <a:pt x="135009" y="90243"/>
                          <a:pt x="127806" y="68238"/>
                          <a:pt x="119684" y="69172"/>
                        </a:cubicBezTo>
                        <a:cubicBezTo>
                          <a:pt x="107431" y="70581"/>
                          <a:pt x="112164" y="77547"/>
                          <a:pt x="111310" y="88961"/>
                        </a:cubicBezTo>
                        <a:cubicBezTo>
                          <a:pt x="110407" y="101151"/>
                          <a:pt x="98771" y="112850"/>
                          <a:pt x="95684" y="93885"/>
                        </a:cubicBezTo>
                        <a:cubicBezTo>
                          <a:pt x="92597" y="74919"/>
                          <a:pt x="85014" y="78956"/>
                          <a:pt x="78238" y="87014"/>
                        </a:cubicBezTo>
                        <a:close/>
                      </a:path>
                    </a:pathLst>
                  </a:custGeom>
                  <a:solidFill>
                    <a:srgbClr val="1F1F39"/>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42" name="Freeform: Shape 41">
                  <a:extLst>
                    <a:ext uri="{FF2B5EF4-FFF2-40B4-BE49-F238E27FC236}">
                      <a16:creationId xmlns:a16="http://schemas.microsoft.com/office/drawing/2014/main" id="{C3F1E886-FC98-9515-3749-7E5C2EC21475}"/>
                    </a:ext>
                  </a:extLst>
                </p:cNvPr>
                <p:cNvSpPr/>
                <p:nvPr/>
              </p:nvSpPr>
              <p:spPr>
                <a:xfrm>
                  <a:off x="12815834" y="2214839"/>
                  <a:ext cx="93970" cy="111299"/>
                </a:xfrm>
                <a:custGeom>
                  <a:avLst/>
                  <a:gdLst>
                    <a:gd name="connsiteX0" fmla="*/ 93971 w 93970"/>
                    <a:gd name="connsiteY0" fmla="*/ 111300 h 111299"/>
                    <a:gd name="connsiteX1" fmla="*/ 76065 w 93970"/>
                    <a:gd name="connsiteY1" fmla="*/ 76819 h 111299"/>
                    <a:gd name="connsiteX2" fmla="*/ 67643 w 93970"/>
                    <a:gd name="connsiteY2" fmla="*/ 51679 h 111299"/>
                    <a:gd name="connsiteX3" fmla="*/ 67643 w 93970"/>
                    <a:gd name="connsiteY3" fmla="*/ 51679 h 111299"/>
                    <a:gd name="connsiteX4" fmla="*/ 313 w 93970"/>
                    <a:gd name="connsiteY4" fmla="*/ 4122 h 111299"/>
                    <a:gd name="connsiteX5" fmla="*/ 93971 w 93970"/>
                    <a:gd name="connsiteY5" fmla="*/ 111300 h 11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970" h="111299">
                      <a:moveTo>
                        <a:pt x="93971" y="111300"/>
                      </a:moveTo>
                      <a:cubicBezTo>
                        <a:pt x="85707" y="97875"/>
                        <a:pt x="79279" y="86017"/>
                        <a:pt x="76065" y="76819"/>
                      </a:cubicBezTo>
                      <a:cubicBezTo>
                        <a:pt x="72646" y="67019"/>
                        <a:pt x="69970" y="58882"/>
                        <a:pt x="67643" y="51679"/>
                      </a:cubicBezTo>
                      <a:lnTo>
                        <a:pt x="67643" y="51679"/>
                      </a:lnTo>
                      <a:cubicBezTo>
                        <a:pt x="26498" y="22882"/>
                        <a:pt x="-3408" y="-12105"/>
                        <a:pt x="313" y="4122"/>
                      </a:cubicBezTo>
                      <a:cubicBezTo>
                        <a:pt x="3146" y="16423"/>
                        <a:pt x="60392" y="85020"/>
                        <a:pt x="93971" y="111300"/>
                      </a:cubicBezTo>
                      <a:close/>
                    </a:path>
                  </a:pathLst>
                </a:custGeom>
                <a:solidFill>
                  <a:srgbClr val="1F1F39">
                    <a:alpha val="22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 name="Freeform: Shape 42">
                  <a:extLst>
                    <a:ext uri="{FF2B5EF4-FFF2-40B4-BE49-F238E27FC236}">
                      <a16:creationId xmlns:a16="http://schemas.microsoft.com/office/drawing/2014/main" id="{94D5776E-5D84-0B5E-1E8F-DC366824FBB4}"/>
                    </a:ext>
                  </a:extLst>
                </p:cNvPr>
                <p:cNvSpPr/>
                <p:nvPr/>
              </p:nvSpPr>
              <p:spPr>
                <a:xfrm>
                  <a:off x="12956997" y="2405722"/>
                  <a:ext cx="18791" cy="133267"/>
                </a:xfrm>
                <a:custGeom>
                  <a:avLst/>
                  <a:gdLst>
                    <a:gd name="connsiteX0" fmla="*/ 0 w 18791"/>
                    <a:gd name="connsiteY0" fmla="*/ 133268 h 133267"/>
                    <a:gd name="connsiteX1" fmla="*/ 5763 w 18791"/>
                    <a:gd name="connsiteY1" fmla="*/ 0 h 133267"/>
                    <a:gd name="connsiteX2" fmla="*/ 18792 w 18791"/>
                    <a:gd name="connsiteY2" fmla="*/ 123294 h 133267"/>
                    <a:gd name="connsiteX3" fmla="*/ 0 w 18791"/>
                    <a:gd name="connsiteY3" fmla="*/ 133268 h 133267"/>
                  </a:gdLst>
                  <a:ahLst/>
                  <a:cxnLst>
                    <a:cxn ang="0">
                      <a:pos x="connsiteX0" y="connsiteY0"/>
                    </a:cxn>
                    <a:cxn ang="0">
                      <a:pos x="connsiteX1" y="connsiteY1"/>
                    </a:cxn>
                    <a:cxn ang="0">
                      <a:pos x="connsiteX2" y="connsiteY2"/>
                    </a:cxn>
                    <a:cxn ang="0">
                      <a:pos x="connsiteX3" y="connsiteY3"/>
                    </a:cxn>
                  </a:cxnLst>
                  <a:rect l="l" t="t" r="r" b="b"/>
                  <a:pathLst>
                    <a:path w="18791" h="133267">
                      <a:moveTo>
                        <a:pt x="0" y="133268"/>
                      </a:moveTo>
                      <a:cubicBezTo>
                        <a:pt x="1726" y="119336"/>
                        <a:pt x="5763" y="0"/>
                        <a:pt x="5763" y="0"/>
                      </a:cubicBezTo>
                      <a:lnTo>
                        <a:pt x="18792" y="123294"/>
                      </a:lnTo>
                      <a:lnTo>
                        <a:pt x="0" y="133268"/>
                      </a:lnTo>
                      <a:close/>
                    </a:path>
                  </a:pathLst>
                </a:custGeom>
                <a:solidFill>
                  <a:srgbClr val="1F1F39">
                    <a:alpha val="22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44" name="Graphic 3">
                  <a:extLst>
                    <a:ext uri="{FF2B5EF4-FFF2-40B4-BE49-F238E27FC236}">
                      <a16:creationId xmlns:a16="http://schemas.microsoft.com/office/drawing/2014/main" id="{0F2059DF-BB65-F01D-5CCF-9A0EDBD6DF21}"/>
                    </a:ext>
                  </a:extLst>
                </p:cNvPr>
                <p:cNvGrpSpPr/>
                <p:nvPr/>
              </p:nvGrpSpPr>
              <p:grpSpPr>
                <a:xfrm>
                  <a:off x="12593491" y="2037392"/>
                  <a:ext cx="671530" cy="125538"/>
                  <a:chOff x="12593491" y="2037392"/>
                  <a:chExt cx="671530" cy="125538"/>
                </a:xfrm>
              </p:grpSpPr>
              <p:sp>
                <p:nvSpPr>
                  <p:cNvPr id="56" name="Freeform: Shape 55">
                    <a:extLst>
                      <a:ext uri="{FF2B5EF4-FFF2-40B4-BE49-F238E27FC236}">
                        <a16:creationId xmlns:a16="http://schemas.microsoft.com/office/drawing/2014/main" id="{6D9134F9-7A7D-8148-7392-11DC9F30C5C2}"/>
                      </a:ext>
                    </a:extLst>
                  </p:cNvPr>
                  <p:cNvSpPr/>
                  <p:nvPr/>
                </p:nvSpPr>
                <p:spPr>
                  <a:xfrm>
                    <a:off x="12602048" y="2085043"/>
                    <a:ext cx="251555" cy="77887"/>
                  </a:xfrm>
                  <a:custGeom>
                    <a:avLst/>
                    <a:gdLst>
                      <a:gd name="connsiteX0" fmla="*/ 10096 w 251555"/>
                      <a:gd name="connsiteY0" fmla="*/ 20612 h 77887"/>
                      <a:gd name="connsiteX1" fmla="*/ 88540 w 251555"/>
                      <a:gd name="connsiteY1" fmla="*/ 74866 h 77887"/>
                      <a:gd name="connsiteX2" fmla="*/ 121850 w 251555"/>
                      <a:gd name="connsiteY2" fmla="*/ 77146 h 77887"/>
                      <a:gd name="connsiteX3" fmla="*/ 251555 w 251555"/>
                      <a:gd name="connsiteY3" fmla="*/ 34876 h 77887"/>
                      <a:gd name="connsiteX4" fmla="*/ 198821 w 251555"/>
                      <a:gd name="connsiteY4" fmla="*/ 0 h 77887"/>
                      <a:gd name="connsiteX5" fmla="*/ 118826 w 251555"/>
                      <a:gd name="connsiteY5" fmla="*/ 43742 h 77887"/>
                      <a:gd name="connsiteX6" fmla="*/ 81496 w 251555"/>
                      <a:gd name="connsiteY6" fmla="*/ 41209 h 77887"/>
                      <a:gd name="connsiteX7" fmla="*/ 23110 w 251555"/>
                      <a:gd name="connsiteY7" fmla="*/ 17779 h 77887"/>
                      <a:gd name="connsiteX8" fmla="*/ 4096 w 251555"/>
                      <a:gd name="connsiteY8" fmla="*/ 5778 h 77887"/>
                      <a:gd name="connsiteX9" fmla="*/ 10081 w 251555"/>
                      <a:gd name="connsiteY9" fmla="*/ 20612 h 7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555" h="77887">
                        <a:moveTo>
                          <a:pt x="10096" y="20612"/>
                        </a:moveTo>
                        <a:cubicBezTo>
                          <a:pt x="12376" y="18317"/>
                          <a:pt x="49311" y="64940"/>
                          <a:pt x="88540" y="74866"/>
                        </a:cubicBezTo>
                        <a:cubicBezTo>
                          <a:pt x="99369" y="77621"/>
                          <a:pt x="110657" y="78761"/>
                          <a:pt x="121850" y="77146"/>
                        </a:cubicBezTo>
                        <a:cubicBezTo>
                          <a:pt x="154605" y="72444"/>
                          <a:pt x="211898" y="48238"/>
                          <a:pt x="251555" y="34876"/>
                        </a:cubicBezTo>
                        <a:cubicBezTo>
                          <a:pt x="235946" y="25504"/>
                          <a:pt x="218199" y="7995"/>
                          <a:pt x="198821" y="0"/>
                        </a:cubicBezTo>
                        <a:cubicBezTo>
                          <a:pt x="171196" y="15277"/>
                          <a:pt x="136129" y="42190"/>
                          <a:pt x="118826" y="43742"/>
                        </a:cubicBezTo>
                        <a:cubicBezTo>
                          <a:pt x="106002" y="44898"/>
                          <a:pt x="93448" y="43758"/>
                          <a:pt x="81496" y="41209"/>
                        </a:cubicBezTo>
                        <a:cubicBezTo>
                          <a:pt x="59031" y="36444"/>
                          <a:pt x="38767" y="26660"/>
                          <a:pt x="23110" y="17779"/>
                        </a:cubicBezTo>
                        <a:cubicBezTo>
                          <a:pt x="15131" y="13251"/>
                          <a:pt x="12313" y="4449"/>
                          <a:pt x="4096" y="5778"/>
                        </a:cubicBezTo>
                        <a:cubicBezTo>
                          <a:pt x="-6796" y="7520"/>
                          <a:pt x="7152" y="23541"/>
                          <a:pt x="10081" y="20612"/>
                        </a:cubicBezTo>
                        <a:close/>
                      </a:path>
                    </a:pathLst>
                  </a:custGeom>
                  <a:solidFill>
                    <a:srgbClr val="1F1F39">
                      <a:alpha val="18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7" name="Freeform: Shape 56">
                    <a:extLst>
                      <a:ext uri="{FF2B5EF4-FFF2-40B4-BE49-F238E27FC236}">
                        <a16:creationId xmlns:a16="http://schemas.microsoft.com/office/drawing/2014/main" id="{35A63437-3118-56A4-1B18-495AB6389AC4}"/>
                      </a:ext>
                    </a:extLst>
                  </p:cNvPr>
                  <p:cNvSpPr/>
                  <p:nvPr/>
                </p:nvSpPr>
                <p:spPr>
                  <a:xfrm>
                    <a:off x="12593491" y="2037392"/>
                    <a:ext cx="671530" cy="111507"/>
                  </a:xfrm>
                  <a:custGeom>
                    <a:avLst/>
                    <a:gdLst>
                      <a:gd name="connsiteX0" fmla="*/ 131 w 671530"/>
                      <a:gd name="connsiteY0" fmla="*/ 60949 h 111507"/>
                      <a:gd name="connsiteX1" fmla="*/ 12258 w 671530"/>
                      <a:gd name="connsiteY1" fmla="*/ 45007 h 111507"/>
                      <a:gd name="connsiteX2" fmla="*/ 29767 w 671530"/>
                      <a:gd name="connsiteY2" fmla="*/ 51403 h 111507"/>
                      <a:gd name="connsiteX3" fmla="*/ 125467 w 671530"/>
                      <a:gd name="connsiteY3" fmla="*/ 77366 h 111507"/>
                      <a:gd name="connsiteX4" fmla="*/ 291015 w 671530"/>
                      <a:gd name="connsiteY4" fmla="*/ 10922 h 111507"/>
                      <a:gd name="connsiteX5" fmla="*/ 452289 w 671530"/>
                      <a:gd name="connsiteY5" fmla="*/ 53239 h 111507"/>
                      <a:gd name="connsiteX6" fmla="*/ 631847 w 671530"/>
                      <a:gd name="connsiteY6" fmla="*/ 110 h 111507"/>
                      <a:gd name="connsiteX7" fmla="*/ 671410 w 671530"/>
                      <a:gd name="connsiteY7" fmla="*/ 10796 h 111507"/>
                      <a:gd name="connsiteX8" fmla="*/ 649610 w 671530"/>
                      <a:gd name="connsiteY8" fmla="*/ 46717 h 111507"/>
                      <a:gd name="connsiteX9" fmla="*/ 457798 w 671530"/>
                      <a:gd name="connsiteY9" fmla="*/ 96649 h 111507"/>
                      <a:gd name="connsiteX10" fmla="*/ 292440 w 671530"/>
                      <a:gd name="connsiteY10" fmla="*/ 60775 h 111507"/>
                      <a:gd name="connsiteX11" fmla="*/ 128459 w 671530"/>
                      <a:gd name="connsiteY11" fmla="*/ 110770 h 111507"/>
                      <a:gd name="connsiteX12" fmla="*/ 20268 w 671530"/>
                      <a:gd name="connsiteY12" fmla="*/ 69941 h 111507"/>
                      <a:gd name="connsiteX13" fmla="*/ 7777 w 671530"/>
                      <a:gd name="connsiteY13" fmla="*/ 75356 h 111507"/>
                      <a:gd name="connsiteX14" fmla="*/ 99 w 671530"/>
                      <a:gd name="connsiteY14" fmla="*/ 60965 h 11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1530" h="111507">
                        <a:moveTo>
                          <a:pt x="131" y="60949"/>
                        </a:moveTo>
                        <a:cubicBezTo>
                          <a:pt x="-582" y="55757"/>
                          <a:pt x="1366" y="46764"/>
                          <a:pt x="12258" y="45007"/>
                        </a:cubicBezTo>
                        <a:cubicBezTo>
                          <a:pt x="20458" y="43693"/>
                          <a:pt x="21788" y="46875"/>
                          <a:pt x="29767" y="51403"/>
                        </a:cubicBezTo>
                        <a:cubicBezTo>
                          <a:pt x="53736" y="65034"/>
                          <a:pt x="88564" y="80691"/>
                          <a:pt x="125467" y="77366"/>
                        </a:cubicBezTo>
                        <a:cubicBezTo>
                          <a:pt x="162370" y="74042"/>
                          <a:pt x="235257" y="10052"/>
                          <a:pt x="291015" y="10922"/>
                        </a:cubicBezTo>
                        <a:cubicBezTo>
                          <a:pt x="346789" y="11793"/>
                          <a:pt x="372673" y="56453"/>
                          <a:pt x="452289" y="53239"/>
                        </a:cubicBezTo>
                        <a:cubicBezTo>
                          <a:pt x="531904" y="50026"/>
                          <a:pt x="608306" y="774"/>
                          <a:pt x="631847" y="110"/>
                        </a:cubicBezTo>
                        <a:cubicBezTo>
                          <a:pt x="655388" y="-555"/>
                          <a:pt x="670175" y="1661"/>
                          <a:pt x="671410" y="10796"/>
                        </a:cubicBezTo>
                        <a:cubicBezTo>
                          <a:pt x="672645" y="19930"/>
                          <a:pt x="664317" y="37107"/>
                          <a:pt x="649610" y="46717"/>
                        </a:cubicBezTo>
                        <a:cubicBezTo>
                          <a:pt x="634903" y="56326"/>
                          <a:pt x="495983" y="94179"/>
                          <a:pt x="457798" y="96649"/>
                        </a:cubicBezTo>
                        <a:cubicBezTo>
                          <a:pt x="395454" y="100686"/>
                          <a:pt x="332256" y="56390"/>
                          <a:pt x="292440" y="60775"/>
                        </a:cubicBezTo>
                        <a:cubicBezTo>
                          <a:pt x="252624" y="65160"/>
                          <a:pt x="174829" y="104105"/>
                          <a:pt x="128459" y="110770"/>
                        </a:cubicBezTo>
                        <a:cubicBezTo>
                          <a:pt x="76754" y="118195"/>
                          <a:pt x="23181" y="66997"/>
                          <a:pt x="20268" y="69941"/>
                        </a:cubicBezTo>
                        <a:cubicBezTo>
                          <a:pt x="17355" y="72886"/>
                          <a:pt x="14664" y="75688"/>
                          <a:pt x="7777" y="75356"/>
                        </a:cubicBezTo>
                        <a:cubicBezTo>
                          <a:pt x="3044" y="75134"/>
                          <a:pt x="812" y="66142"/>
                          <a:pt x="99" y="60965"/>
                        </a:cubicBezTo>
                        <a:close/>
                      </a:path>
                    </a:pathLst>
                  </a:custGeom>
                  <a:solidFill>
                    <a:srgbClr val="F4AD00"/>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grpSp>
              <p:nvGrpSpPr>
                <p:cNvPr id="45" name="Graphic 3">
                  <a:extLst>
                    <a:ext uri="{FF2B5EF4-FFF2-40B4-BE49-F238E27FC236}">
                      <a16:creationId xmlns:a16="http://schemas.microsoft.com/office/drawing/2014/main" id="{69A21F4C-F3CB-5037-A429-1BA673378334}"/>
                    </a:ext>
                  </a:extLst>
                </p:cNvPr>
                <p:cNvGrpSpPr/>
                <p:nvPr/>
              </p:nvGrpSpPr>
              <p:grpSpPr>
                <a:xfrm>
                  <a:off x="11907236" y="2162657"/>
                  <a:ext cx="508013" cy="615631"/>
                  <a:chOff x="11907236" y="2162657"/>
                  <a:chExt cx="508013" cy="615631"/>
                </a:xfrm>
              </p:grpSpPr>
              <p:sp>
                <p:nvSpPr>
                  <p:cNvPr id="47" name="Freeform: Shape 46">
                    <a:extLst>
                      <a:ext uri="{FF2B5EF4-FFF2-40B4-BE49-F238E27FC236}">
                        <a16:creationId xmlns:a16="http://schemas.microsoft.com/office/drawing/2014/main" id="{D1B199E1-6775-DEA0-228F-03C0F1BB566B}"/>
                      </a:ext>
                    </a:extLst>
                  </p:cNvPr>
                  <p:cNvSpPr/>
                  <p:nvPr/>
                </p:nvSpPr>
                <p:spPr>
                  <a:xfrm>
                    <a:off x="11914499" y="2210032"/>
                    <a:ext cx="298427" cy="293720"/>
                  </a:xfrm>
                  <a:custGeom>
                    <a:avLst/>
                    <a:gdLst>
                      <a:gd name="connsiteX0" fmla="*/ 298427 w 298427"/>
                      <a:gd name="connsiteY0" fmla="*/ 214831 h 293720"/>
                      <a:gd name="connsiteX1" fmla="*/ 285129 w 298427"/>
                      <a:gd name="connsiteY1" fmla="*/ 243565 h 293720"/>
                      <a:gd name="connsiteX2" fmla="*/ 269884 w 298427"/>
                      <a:gd name="connsiteY2" fmla="*/ 262958 h 293720"/>
                      <a:gd name="connsiteX3" fmla="*/ 253403 w 298427"/>
                      <a:gd name="connsiteY3" fmla="*/ 278124 h 293720"/>
                      <a:gd name="connsiteX4" fmla="*/ 246738 w 298427"/>
                      <a:gd name="connsiteY4" fmla="*/ 283190 h 293720"/>
                      <a:gd name="connsiteX5" fmla="*/ 243334 w 298427"/>
                      <a:gd name="connsiteY5" fmla="*/ 285423 h 293720"/>
                      <a:gd name="connsiteX6" fmla="*/ 109940 w 298427"/>
                      <a:gd name="connsiteY6" fmla="*/ 258003 h 293720"/>
                      <a:gd name="connsiteX7" fmla="*/ 76900 w 298427"/>
                      <a:gd name="connsiteY7" fmla="*/ 232562 h 293720"/>
                      <a:gd name="connsiteX8" fmla="*/ 39 w 298427"/>
                      <a:gd name="connsiteY8" fmla="*/ 81579 h 293720"/>
                      <a:gd name="connsiteX9" fmla="*/ 40235 w 298427"/>
                      <a:gd name="connsiteY9" fmla="*/ 4148 h 293720"/>
                      <a:gd name="connsiteX10" fmla="*/ 44161 w 298427"/>
                      <a:gd name="connsiteY10" fmla="*/ 0 h 293720"/>
                      <a:gd name="connsiteX11" fmla="*/ 60705 w 298427"/>
                      <a:gd name="connsiteY11" fmla="*/ 13979 h 293720"/>
                      <a:gd name="connsiteX12" fmla="*/ 66895 w 298427"/>
                      <a:gd name="connsiteY12" fmla="*/ 19203 h 293720"/>
                      <a:gd name="connsiteX13" fmla="*/ 79829 w 298427"/>
                      <a:gd name="connsiteY13" fmla="*/ 30143 h 293720"/>
                      <a:gd name="connsiteX14" fmla="*/ 254005 w 298427"/>
                      <a:gd name="connsiteY14" fmla="*/ 177311 h 293720"/>
                      <a:gd name="connsiteX15" fmla="*/ 278290 w 298427"/>
                      <a:gd name="connsiteY15" fmla="*/ 197828 h 293720"/>
                      <a:gd name="connsiteX16" fmla="*/ 286823 w 298427"/>
                      <a:gd name="connsiteY16" fmla="*/ 205047 h 293720"/>
                      <a:gd name="connsiteX17" fmla="*/ 298412 w 298427"/>
                      <a:gd name="connsiteY17" fmla="*/ 214847 h 29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427" h="293720">
                        <a:moveTo>
                          <a:pt x="298427" y="214831"/>
                        </a:moveTo>
                        <a:cubicBezTo>
                          <a:pt x="298427" y="214831"/>
                          <a:pt x="295799" y="227116"/>
                          <a:pt x="285129" y="243565"/>
                        </a:cubicBezTo>
                        <a:cubicBezTo>
                          <a:pt x="281219" y="249612"/>
                          <a:pt x="276232" y="256214"/>
                          <a:pt x="269884" y="262958"/>
                        </a:cubicBezTo>
                        <a:cubicBezTo>
                          <a:pt x="265166" y="267992"/>
                          <a:pt x="259720" y="273106"/>
                          <a:pt x="253403" y="278124"/>
                        </a:cubicBezTo>
                        <a:cubicBezTo>
                          <a:pt x="251282" y="279818"/>
                          <a:pt x="249050" y="281512"/>
                          <a:pt x="246738" y="283190"/>
                        </a:cubicBezTo>
                        <a:cubicBezTo>
                          <a:pt x="245630" y="283982"/>
                          <a:pt x="244506" y="284726"/>
                          <a:pt x="243334" y="285423"/>
                        </a:cubicBezTo>
                        <a:cubicBezTo>
                          <a:pt x="212337" y="303977"/>
                          <a:pt x="158384" y="289935"/>
                          <a:pt x="109940" y="258003"/>
                        </a:cubicBezTo>
                        <a:cubicBezTo>
                          <a:pt x="98494" y="250451"/>
                          <a:pt x="87349" y="241918"/>
                          <a:pt x="76900" y="232562"/>
                        </a:cubicBezTo>
                        <a:cubicBezTo>
                          <a:pt x="19401" y="181173"/>
                          <a:pt x="-1022" y="109711"/>
                          <a:pt x="39" y="81579"/>
                        </a:cubicBezTo>
                        <a:cubicBezTo>
                          <a:pt x="751" y="63072"/>
                          <a:pt x="12419" y="34180"/>
                          <a:pt x="40235" y="4148"/>
                        </a:cubicBezTo>
                        <a:cubicBezTo>
                          <a:pt x="41517" y="2770"/>
                          <a:pt x="42815" y="1393"/>
                          <a:pt x="44161" y="0"/>
                        </a:cubicBezTo>
                        <a:lnTo>
                          <a:pt x="60705" y="13979"/>
                        </a:lnTo>
                        <a:lnTo>
                          <a:pt x="66895" y="19203"/>
                        </a:lnTo>
                        <a:lnTo>
                          <a:pt x="79829" y="30143"/>
                        </a:lnTo>
                        <a:lnTo>
                          <a:pt x="254005" y="177311"/>
                        </a:lnTo>
                        <a:lnTo>
                          <a:pt x="278290" y="197828"/>
                        </a:lnTo>
                        <a:lnTo>
                          <a:pt x="286823" y="205047"/>
                        </a:lnTo>
                        <a:lnTo>
                          <a:pt x="298412" y="214847"/>
                        </a:lnTo>
                        <a:close/>
                      </a:path>
                    </a:pathLst>
                  </a:custGeom>
                  <a:solidFill>
                    <a:srgbClr val="0267A4"/>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8" name="Freeform: Shape 47">
                    <a:extLst>
                      <a:ext uri="{FF2B5EF4-FFF2-40B4-BE49-F238E27FC236}">
                        <a16:creationId xmlns:a16="http://schemas.microsoft.com/office/drawing/2014/main" id="{D0F56432-89E9-9725-36DA-5F3184805066}"/>
                      </a:ext>
                    </a:extLst>
                  </p:cNvPr>
                  <p:cNvSpPr/>
                  <p:nvPr/>
                </p:nvSpPr>
                <p:spPr>
                  <a:xfrm rot="-2640599">
                    <a:off x="11987500" y="2183321"/>
                    <a:ext cx="182693" cy="304879"/>
                  </a:xfrm>
                  <a:custGeom>
                    <a:avLst/>
                    <a:gdLst>
                      <a:gd name="connsiteX0" fmla="*/ 182693 w 182693"/>
                      <a:gd name="connsiteY0" fmla="*/ 152440 h 304879"/>
                      <a:gd name="connsiteX1" fmla="*/ 91347 w 182693"/>
                      <a:gd name="connsiteY1" fmla="*/ 304879 h 304879"/>
                      <a:gd name="connsiteX2" fmla="*/ 0 w 182693"/>
                      <a:gd name="connsiteY2" fmla="*/ 152440 h 304879"/>
                      <a:gd name="connsiteX3" fmla="*/ 91347 w 182693"/>
                      <a:gd name="connsiteY3" fmla="*/ 0 h 304879"/>
                      <a:gd name="connsiteX4" fmla="*/ 182693 w 182693"/>
                      <a:gd name="connsiteY4" fmla="*/ 152440 h 304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93" h="304879">
                        <a:moveTo>
                          <a:pt x="182693" y="152440"/>
                        </a:moveTo>
                        <a:cubicBezTo>
                          <a:pt x="182693" y="236630"/>
                          <a:pt x="141796" y="304879"/>
                          <a:pt x="91347" y="304879"/>
                        </a:cubicBezTo>
                        <a:cubicBezTo>
                          <a:pt x="40897" y="304879"/>
                          <a:pt x="0" y="236630"/>
                          <a:pt x="0" y="152440"/>
                        </a:cubicBezTo>
                        <a:cubicBezTo>
                          <a:pt x="0" y="68250"/>
                          <a:pt x="40897" y="0"/>
                          <a:pt x="91347" y="0"/>
                        </a:cubicBezTo>
                        <a:cubicBezTo>
                          <a:pt x="141796" y="0"/>
                          <a:pt x="182693" y="68250"/>
                          <a:pt x="182693" y="152440"/>
                        </a:cubicBezTo>
                        <a:close/>
                      </a:path>
                    </a:pathLst>
                  </a:custGeom>
                  <a:solidFill>
                    <a:srgbClr val="0267A4"/>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9" name="Freeform: Shape 48">
                    <a:extLst>
                      <a:ext uri="{FF2B5EF4-FFF2-40B4-BE49-F238E27FC236}">
                        <a16:creationId xmlns:a16="http://schemas.microsoft.com/office/drawing/2014/main" id="{99BE918E-A711-7252-5CC0-D9ED927E62C8}"/>
                      </a:ext>
                    </a:extLst>
                  </p:cNvPr>
                  <p:cNvSpPr/>
                  <p:nvPr/>
                </p:nvSpPr>
                <p:spPr>
                  <a:xfrm rot="-2640599">
                    <a:off x="11987500" y="2183321"/>
                    <a:ext cx="182693" cy="304879"/>
                  </a:xfrm>
                  <a:custGeom>
                    <a:avLst/>
                    <a:gdLst>
                      <a:gd name="connsiteX0" fmla="*/ 182693 w 182693"/>
                      <a:gd name="connsiteY0" fmla="*/ 152440 h 304879"/>
                      <a:gd name="connsiteX1" fmla="*/ 91347 w 182693"/>
                      <a:gd name="connsiteY1" fmla="*/ 304879 h 304879"/>
                      <a:gd name="connsiteX2" fmla="*/ 0 w 182693"/>
                      <a:gd name="connsiteY2" fmla="*/ 152440 h 304879"/>
                      <a:gd name="connsiteX3" fmla="*/ 91347 w 182693"/>
                      <a:gd name="connsiteY3" fmla="*/ 0 h 304879"/>
                      <a:gd name="connsiteX4" fmla="*/ 182693 w 182693"/>
                      <a:gd name="connsiteY4" fmla="*/ 152440 h 304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93" h="304879">
                        <a:moveTo>
                          <a:pt x="182693" y="152440"/>
                        </a:moveTo>
                        <a:cubicBezTo>
                          <a:pt x="182693" y="236630"/>
                          <a:pt x="141796" y="304879"/>
                          <a:pt x="91347" y="304879"/>
                        </a:cubicBezTo>
                        <a:cubicBezTo>
                          <a:pt x="40897" y="304879"/>
                          <a:pt x="0" y="236630"/>
                          <a:pt x="0" y="152440"/>
                        </a:cubicBezTo>
                        <a:cubicBezTo>
                          <a:pt x="0" y="68250"/>
                          <a:pt x="40897" y="0"/>
                          <a:pt x="91347" y="0"/>
                        </a:cubicBezTo>
                        <a:cubicBezTo>
                          <a:pt x="141796" y="0"/>
                          <a:pt x="182693" y="68250"/>
                          <a:pt x="182693" y="152440"/>
                        </a:cubicBezTo>
                        <a:close/>
                      </a:path>
                    </a:pathLst>
                  </a:custGeom>
                  <a:solidFill>
                    <a:srgbClr val="0D0D1E">
                      <a:alpha val="15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0" name="Freeform: Shape 49">
                    <a:extLst>
                      <a:ext uri="{FF2B5EF4-FFF2-40B4-BE49-F238E27FC236}">
                        <a16:creationId xmlns:a16="http://schemas.microsoft.com/office/drawing/2014/main" id="{B93EDB34-CBBD-306B-136B-2DD75E8D8A06}"/>
                      </a:ext>
                    </a:extLst>
                  </p:cNvPr>
                  <p:cNvSpPr/>
                  <p:nvPr/>
                </p:nvSpPr>
                <p:spPr>
                  <a:xfrm>
                    <a:off x="11956505" y="2239934"/>
                    <a:ext cx="220469" cy="237574"/>
                  </a:xfrm>
                  <a:custGeom>
                    <a:avLst/>
                    <a:gdLst>
                      <a:gd name="connsiteX0" fmla="*/ 220294 w 220469"/>
                      <a:gd name="connsiteY0" fmla="*/ 194775 h 237574"/>
                      <a:gd name="connsiteX1" fmla="*/ 215608 w 220469"/>
                      <a:gd name="connsiteY1" fmla="*/ 231836 h 237574"/>
                      <a:gd name="connsiteX2" fmla="*/ 43221 w 220469"/>
                      <a:gd name="connsiteY2" fmla="*/ 169018 h 237574"/>
                      <a:gd name="connsiteX3" fmla="*/ 3247 w 220469"/>
                      <a:gd name="connsiteY3" fmla="*/ 115777 h 237574"/>
                      <a:gd name="connsiteX4" fmla="*/ 3247 w 220469"/>
                      <a:gd name="connsiteY4" fmla="*/ 115777 h 237574"/>
                      <a:gd name="connsiteX5" fmla="*/ 1331 w 220469"/>
                      <a:gd name="connsiteY5" fmla="*/ 15723 h 237574"/>
                      <a:gd name="connsiteX6" fmla="*/ 10386 w 220469"/>
                      <a:gd name="connsiteY6" fmla="*/ 8599 h 237574"/>
                      <a:gd name="connsiteX7" fmla="*/ 220294 w 220469"/>
                      <a:gd name="connsiteY7" fmla="*/ 194759 h 23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469" h="237574">
                        <a:moveTo>
                          <a:pt x="220294" y="194775"/>
                        </a:moveTo>
                        <a:cubicBezTo>
                          <a:pt x="221054" y="209878"/>
                          <a:pt x="219328" y="222116"/>
                          <a:pt x="215608" y="231836"/>
                        </a:cubicBezTo>
                        <a:cubicBezTo>
                          <a:pt x="168573" y="249567"/>
                          <a:pt x="98076" y="225535"/>
                          <a:pt x="43221" y="169018"/>
                        </a:cubicBezTo>
                        <a:cubicBezTo>
                          <a:pt x="26914" y="152221"/>
                          <a:pt x="13521" y="134126"/>
                          <a:pt x="3247" y="115777"/>
                        </a:cubicBezTo>
                        <a:lnTo>
                          <a:pt x="3247" y="115777"/>
                        </a:lnTo>
                        <a:cubicBezTo>
                          <a:pt x="-2690" y="55840"/>
                          <a:pt x="1331" y="15723"/>
                          <a:pt x="1331" y="15723"/>
                        </a:cubicBezTo>
                        <a:cubicBezTo>
                          <a:pt x="4101" y="12969"/>
                          <a:pt x="7125" y="10594"/>
                          <a:pt x="10386" y="8599"/>
                        </a:cubicBezTo>
                        <a:cubicBezTo>
                          <a:pt x="71479" y="-29000"/>
                          <a:pt x="213565" y="61001"/>
                          <a:pt x="220294" y="194759"/>
                        </a:cubicBezTo>
                        <a:close/>
                      </a:path>
                    </a:pathLst>
                  </a:custGeom>
                  <a:solidFill>
                    <a:srgbClr val="FFFFFF">
                      <a:alpha val="86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1" name="Freeform: Shape 50">
                    <a:extLst>
                      <a:ext uri="{FF2B5EF4-FFF2-40B4-BE49-F238E27FC236}">
                        <a16:creationId xmlns:a16="http://schemas.microsoft.com/office/drawing/2014/main" id="{32413E35-E1CA-87C8-6503-2432B7C42E61}"/>
                      </a:ext>
                    </a:extLst>
                  </p:cNvPr>
                  <p:cNvSpPr/>
                  <p:nvPr/>
                </p:nvSpPr>
                <p:spPr>
                  <a:xfrm>
                    <a:off x="12024454" y="2468034"/>
                    <a:ext cx="143956" cy="35717"/>
                  </a:xfrm>
                  <a:custGeom>
                    <a:avLst/>
                    <a:gdLst>
                      <a:gd name="connsiteX0" fmla="*/ 143463 w 143956"/>
                      <a:gd name="connsiteY0" fmla="*/ 20122 h 35717"/>
                      <a:gd name="connsiteX1" fmla="*/ 139996 w 143956"/>
                      <a:gd name="connsiteY1" fmla="*/ 35510 h 35717"/>
                      <a:gd name="connsiteX2" fmla="*/ 133395 w 143956"/>
                      <a:gd name="connsiteY2" fmla="*/ 27420 h 35717"/>
                      <a:gd name="connsiteX3" fmla="*/ 0 w 143956"/>
                      <a:gd name="connsiteY3" fmla="*/ 0 h 35717"/>
                      <a:gd name="connsiteX4" fmla="*/ 133854 w 143956"/>
                      <a:gd name="connsiteY4" fmla="*/ 7647 h 35717"/>
                      <a:gd name="connsiteX5" fmla="*/ 133854 w 143956"/>
                      <a:gd name="connsiteY5" fmla="*/ 7647 h 35717"/>
                      <a:gd name="connsiteX6" fmla="*/ 141579 w 143956"/>
                      <a:gd name="connsiteY6" fmla="*/ 5778 h 35717"/>
                      <a:gd name="connsiteX7" fmla="*/ 142925 w 143956"/>
                      <a:gd name="connsiteY7" fmla="*/ 7504 h 35717"/>
                      <a:gd name="connsiteX8" fmla="*/ 143463 w 143956"/>
                      <a:gd name="connsiteY8" fmla="*/ 20122 h 3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56" h="35717">
                        <a:moveTo>
                          <a:pt x="143463" y="20122"/>
                        </a:moveTo>
                        <a:cubicBezTo>
                          <a:pt x="142846" y="24649"/>
                          <a:pt x="141658" y="29905"/>
                          <a:pt x="139996" y="35510"/>
                        </a:cubicBezTo>
                        <a:cubicBezTo>
                          <a:pt x="136909" y="31710"/>
                          <a:pt x="134661" y="28956"/>
                          <a:pt x="133395" y="27420"/>
                        </a:cubicBezTo>
                        <a:cubicBezTo>
                          <a:pt x="102397" y="45974"/>
                          <a:pt x="48444" y="31932"/>
                          <a:pt x="0" y="0"/>
                        </a:cubicBezTo>
                        <a:cubicBezTo>
                          <a:pt x="50201" y="18602"/>
                          <a:pt x="110772" y="24697"/>
                          <a:pt x="133854" y="7647"/>
                        </a:cubicBezTo>
                        <a:lnTo>
                          <a:pt x="133854" y="7647"/>
                        </a:lnTo>
                        <a:cubicBezTo>
                          <a:pt x="137416" y="5003"/>
                          <a:pt x="139949" y="4559"/>
                          <a:pt x="141579" y="5778"/>
                        </a:cubicBezTo>
                        <a:cubicBezTo>
                          <a:pt x="142118" y="6174"/>
                          <a:pt x="142577" y="6760"/>
                          <a:pt x="142925" y="7504"/>
                        </a:cubicBezTo>
                        <a:cubicBezTo>
                          <a:pt x="144128" y="10053"/>
                          <a:pt x="144239" y="14517"/>
                          <a:pt x="143463" y="20122"/>
                        </a:cubicBezTo>
                        <a:close/>
                      </a:path>
                    </a:pathLst>
                  </a:custGeom>
                  <a:solidFill>
                    <a:srgbClr val="0D0D1E">
                      <a:alpha val="26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2" name="Freeform: Shape 51">
                    <a:extLst>
                      <a:ext uri="{FF2B5EF4-FFF2-40B4-BE49-F238E27FC236}">
                        <a16:creationId xmlns:a16="http://schemas.microsoft.com/office/drawing/2014/main" id="{B166AB2C-58AE-92E9-1691-A88DF9837209}"/>
                      </a:ext>
                    </a:extLst>
                  </p:cNvPr>
                  <p:cNvSpPr/>
                  <p:nvPr/>
                </p:nvSpPr>
                <p:spPr>
                  <a:xfrm>
                    <a:off x="11935278" y="2188418"/>
                    <a:ext cx="285498" cy="289119"/>
                  </a:xfrm>
                  <a:custGeom>
                    <a:avLst/>
                    <a:gdLst>
                      <a:gd name="connsiteX0" fmla="*/ 221036 w 285498"/>
                      <a:gd name="connsiteY0" fmla="*/ 68553 h 289119"/>
                      <a:gd name="connsiteX1" fmla="*/ 23398 w 285498"/>
                      <a:gd name="connsiteY1" fmla="*/ 21613 h 289119"/>
                      <a:gd name="connsiteX2" fmla="*/ 19472 w 285498"/>
                      <a:gd name="connsiteY2" fmla="*/ 25761 h 289119"/>
                      <a:gd name="connsiteX3" fmla="*/ 24474 w 285498"/>
                      <a:gd name="connsiteY3" fmla="*/ 167309 h 289119"/>
                      <a:gd name="connsiteX4" fmla="*/ 24474 w 285498"/>
                      <a:gd name="connsiteY4" fmla="*/ 167309 h 289119"/>
                      <a:gd name="connsiteX5" fmla="*/ 64448 w 285498"/>
                      <a:gd name="connsiteY5" fmla="*/ 220565 h 289119"/>
                      <a:gd name="connsiteX6" fmla="*/ 223015 w 285498"/>
                      <a:gd name="connsiteY6" fmla="*/ 287278 h 289119"/>
                      <a:gd name="connsiteX7" fmla="*/ 230756 w 285498"/>
                      <a:gd name="connsiteY7" fmla="*/ 285410 h 289119"/>
                      <a:gd name="connsiteX8" fmla="*/ 236835 w 285498"/>
                      <a:gd name="connsiteY8" fmla="*/ 283384 h 289119"/>
                      <a:gd name="connsiteX9" fmla="*/ 262086 w 285498"/>
                      <a:gd name="connsiteY9" fmla="*/ 267505 h 289119"/>
                      <a:gd name="connsiteX10" fmla="*/ 264366 w 285498"/>
                      <a:gd name="connsiteY10" fmla="*/ 265194 h 289119"/>
                      <a:gd name="connsiteX11" fmla="*/ 221036 w 285498"/>
                      <a:gd name="connsiteY11" fmla="*/ 68569 h 289119"/>
                      <a:gd name="connsiteX12" fmla="*/ 207547 w 285498"/>
                      <a:gd name="connsiteY12" fmla="*/ 81645 h 289119"/>
                      <a:gd name="connsiteX13" fmla="*/ 222318 w 285498"/>
                      <a:gd name="connsiteY13" fmla="*/ 98458 h 289119"/>
                      <a:gd name="connsiteX14" fmla="*/ 257527 w 285498"/>
                      <a:gd name="connsiteY14" fmla="*/ 219425 h 289119"/>
                      <a:gd name="connsiteX15" fmla="*/ 241521 w 285498"/>
                      <a:gd name="connsiteY15" fmla="*/ 246291 h 289119"/>
                      <a:gd name="connsiteX16" fmla="*/ 77952 w 285498"/>
                      <a:gd name="connsiteY16" fmla="*/ 207457 h 289119"/>
                      <a:gd name="connsiteX17" fmla="*/ 31614 w 285498"/>
                      <a:gd name="connsiteY17" fmla="*/ 60131 h 289119"/>
                      <a:gd name="connsiteX18" fmla="*/ 43963 w 285498"/>
                      <a:gd name="connsiteY18" fmla="*/ 42811 h 289119"/>
                      <a:gd name="connsiteX19" fmla="*/ 46131 w 285498"/>
                      <a:gd name="connsiteY19" fmla="*/ 40832 h 289119"/>
                      <a:gd name="connsiteX20" fmla="*/ 167542 w 285498"/>
                      <a:gd name="connsiteY20" fmla="*/ 49160 h 289119"/>
                      <a:gd name="connsiteX21" fmla="*/ 207547 w 285498"/>
                      <a:gd name="connsiteY21" fmla="*/ 81661 h 289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5498" h="289119">
                        <a:moveTo>
                          <a:pt x="221036" y="68553"/>
                        </a:moveTo>
                        <a:cubicBezTo>
                          <a:pt x="155114" y="652"/>
                          <a:pt x="66649" y="-20356"/>
                          <a:pt x="23398" y="21613"/>
                        </a:cubicBezTo>
                        <a:cubicBezTo>
                          <a:pt x="22020" y="22943"/>
                          <a:pt x="20706" y="24320"/>
                          <a:pt x="19472" y="25761"/>
                        </a:cubicBezTo>
                        <a:cubicBezTo>
                          <a:pt x="-8882" y="58120"/>
                          <a:pt x="-5463" y="113830"/>
                          <a:pt x="24474" y="167309"/>
                        </a:cubicBezTo>
                        <a:lnTo>
                          <a:pt x="24474" y="167309"/>
                        </a:lnTo>
                        <a:cubicBezTo>
                          <a:pt x="34749" y="185673"/>
                          <a:pt x="48142" y="203752"/>
                          <a:pt x="64448" y="220565"/>
                        </a:cubicBezTo>
                        <a:cubicBezTo>
                          <a:pt x="114159" y="271764"/>
                          <a:pt x="176724" y="296318"/>
                          <a:pt x="223015" y="287278"/>
                        </a:cubicBezTo>
                        <a:cubicBezTo>
                          <a:pt x="225658" y="286772"/>
                          <a:pt x="228223" y="286154"/>
                          <a:pt x="230756" y="285410"/>
                        </a:cubicBezTo>
                        <a:cubicBezTo>
                          <a:pt x="232830" y="284809"/>
                          <a:pt x="234856" y="284128"/>
                          <a:pt x="236835" y="283384"/>
                        </a:cubicBezTo>
                        <a:cubicBezTo>
                          <a:pt x="246302" y="279806"/>
                          <a:pt x="254836" y="274550"/>
                          <a:pt x="262086" y="267505"/>
                        </a:cubicBezTo>
                        <a:cubicBezTo>
                          <a:pt x="262862" y="266745"/>
                          <a:pt x="263622" y="265969"/>
                          <a:pt x="264366" y="265194"/>
                        </a:cubicBezTo>
                        <a:cubicBezTo>
                          <a:pt x="304657" y="222338"/>
                          <a:pt x="285770" y="135234"/>
                          <a:pt x="221036" y="68569"/>
                        </a:cubicBezTo>
                        <a:close/>
                        <a:moveTo>
                          <a:pt x="207547" y="81645"/>
                        </a:moveTo>
                        <a:cubicBezTo>
                          <a:pt x="212851" y="87107"/>
                          <a:pt x="217774" y="92727"/>
                          <a:pt x="222318" y="98458"/>
                        </a:cubicBezTo>
                        <a:cubicBezTo>
                          <a:pt x="254630" y="139240"/>
                          <a:pt x="267643" y="185768"/>
                          <a:pt x="257527" y="219425"/>
                        </a:cubicBezTo>
                        <a:cubicBezTo>
                          <a:pt x="254424" y="229779"/>
                          <a:pt x="249120" y="238914"/>
                          <a:pt x="241521" y="246291"/>
                        </a:cubicBezTo>
                        <a:cubicBezTo>
                          <a:pt x="205727" y="281025"/>
                          <a:pt x="132491" y="263642"/>
                          <a:pt x="77952" y="207457"/>
                        </a:cubicBezTo>
                        <a:cubicBezTo>
                          <a:pt x="31282" y="159377"/>
                          <a:pt x="13392" y="98474"/>
                          <a:pt x="31614" y="60131"/>
                        </a:cubicBezTo>
                        <a:cubicBezTo>
                          <a:pt x="34701" y="53656"/>
                          <a:pt x="38802" y="47814"/>
                          <a:pt x="43963" y="42811"/>
                        </a:cubicBezTo>
                        <a:cubicBezTo>
                          <a:pt x="44659" y="42130"/>
                          <a:pt x="45387" y="41466"/>
                          <a:pt x="46131" y="40832"/>
                        </a:cubicBezTo>
                        <a:cubicBezTo>
                          <a:pt x="74058" y="16310"/>
                          <a:pt x="122422" y="20964"/>
                          <a:pt x="167542" y="49160"/>
                        </a:cubicBezTo>
                        <a:cubicBezTo>
                          <a:pt x="181410" y="57819"/>
                          <a:pt x="194977" y="68711"/>
                          <a:pt x="207547" y="81661"/>
                        </a:cubicBezTo>
                        <a:close/>
                      </a:path>
                    </a:pathLst>
                  </a:custGeom>
                  <a:solidFill>
                    <a:srgbClr val="0267A4"/>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3" name="Freeform: Shape 52">
                    <a:extLst>
                      <a:ext uri="{FF2B5EF4-FFF2-40B4-BE49-F238E27FC236}">
                        <a16:creationId xmlns:a16="http://schemas.microsoft.com/office/drawing/2014/main" id="{F5CDD21A-6CFF-B15F-DAA4-4D6E0F9A9DB4}"/>
                      </a:ext>
                    </a:extLst>
                  </p:cNvPr>
                  <p:cNvSpPr/>
                  <p:nvPr/>
                </p:nvSpPr>
                <p:spPr>
                  <a:xfrm>
                    <a:off x="11935278" y="2188418"/>
                    <a:ext cx="285498" cy="289119"/>
                  </a:xfrm>
                  <a:custGeom>
                    <a:avLst/>
                    <a:gdLst>
                      <a:gd name="connsiteX0" fmla="*/ 221036 w 285498"/>
                      <a:gd name="connsiteY0" fmla="*/ 68553 h 289119"/>
                      <a:gd name="connsiteX1" fmla="*/ 23398 w 285498"/>
                      <a:gd name="connsiteY1" fmla="*/ 21613 h 289119"/>
                      <a:gd name="connsiteX2" fmla="*/ 19472 w 285498"/>
                      <a:gd name="connsiteY2" fmla="*/ 25761 h 289119"/>
                      <a:gd name="connsiteX3" fmla="*/ 24474 w 285498"/>
                      <a:gd name="connsiteY3" fmla="*/ 167309 h 289119"/>
                      <a:gd name="connsiteX4" fmla="*/ 24474 w 285498"/>
                      <a:gd name="connsiteY4" fmla="*/ 167309 h 289119"/>
                      <a:gd name="connsiteX5" fmla="*/ 64448 w 285498"/>
                      <a:gd name="connsiteY5" fmla="*/ 220565 h 289119"/>
                      <a:gd name="connsiteX6" fmla="*/ 223015 w 285498"/>
                      <a:gd name="connsiteY6" fmla="*/ 287278 h 289119"/>
                      <a:gd name="connsiteX7" fmla="*/ 230756 w 285498"/>
                      <a:gd name="connsiteY7" fmla="*/ 285410 h 289119"/>
                      <a:gd name="connsiteX8" fmla="*/ 236835 w 285498"/>
                      <a:gd name="connsiteY8" fmla="*/ 283384 h 289119"/>
                      <a:gd name="connsiteX9" fmla="*/ 262086 w 285498"/>
                      <a:gd name="connsiteY9" fmla="*/ 267505 h 289119"/>
                      <a:gd name="connsiteX10" fmla="*/ 264366 w 285498"/>
                      <a:gd name="connsiteY10" fmla="*/ 265194 h 289119"/>
                      <a:gd name="connsiteX11" fmla="*/ 221036 w 285498"/>
                      <a:gd name="connsiteY11" fmla="*/ 68569 h 289119"/>
                      <a:gd name="connsiteX12" fmla="*/ 207547 w 285498"/>
                      <a:gd name="connsiteY12" fmla="*/ 81645 h 289119"/>
                      <a:gd name="connsiteX13" fmla="*/ 222318 w 285498"/>
                      <a:gd name="connsiteY13" fmla="*/ 98458 h 289119"/>
                      <a:gd name="connsiteX14" fmla="*/ 257527 w 285498"/>
                      <a:gd name="connsiteY14" fmla="*/ 219425 h 289119"/>
                      <a:gd name="connsiteX15" fmla="*/ 241521 w 285498"/>
                      <a:gd name="connsiteY15" fmla="*/ 246291 h 289119"/>
                      <a:gd name="connsiteX16" fmla="*/ 77952 w 285498"/>
                      <a:gd name="connsiteY16" fmla="*/ 207457 h 289119"/>
                      <a:gd name="connsiteX17" fmla="*/ 31614 w 285498"/>
                      <a:gd name="connsiteY17" fmla="*/ 60131 h 289119"/>
                      <a:gd name="connsiteX18" fmla="*/ 43963 w 285498"/>
                      <a:gd name="connsiteY18" fmla="*/ 42811 h 289119"/>
                      <a:gd name="connsiteX19" fmla="*/ 46131 w 285498"/>
                      <a:gd name="connsiteY19" fmla="*/ 40832 h 289119"/>
                      <a:gd name="connsiteX20" fmla="*/ 167542 w 285498"/>
                      <a:gd name="connsiteY20" fmla="*/ 49160 h 289119"/>
                      <a:gd name="connsiteX21" fmla="*/ 207547 w 285498"/>
                      <a:gd name="connsiteY21" fmla="*/ 81661 h 289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5498" h="289119">
                        <a:moveTo>
                          <a:pt x="221036" y="68553"/>
                        </a:moveTo>
                        <a:cubicBezTo>
                          <a:pt x="155114" y="652"/>
                          <a:pt x="66649" y="-20356"/>
                          <a:pt x="23398" y="21613"/>
                        </a:cubicBezTo>
                        <a:cubicBezTo>
                          <a:pt x="22020" y="22943"/>
                          <a:pt x="20706" y="24320"/>
                          <a:pt x="19472" y="25761"/>
                        </a:cubicBezTo>
                        <a:cubicBezTo>
                          <a:pt x="-8882" y="58120"/>
                          <a:pt x="-5463" y="113830"/>
                          <a:pt x="24474" y="167309"/>
                        </a:cubicBezTo>
                        <a:lnTo>
                          <a:pt x="24474" y="167309"/>
                        </a:lnTo>
                        <a:cubicBezTo>
                          <a:pt x="34749" y="185673"/>
                          <a:pt x="48142" y="203752"/>
                          <a:pt x="64448" y="220565"/>
                        </a:cubicBezTo>
                        <a:cubicBezTo>
                          <a:pt x="114159" y="271764"/>
                          <a:pt x="176724" y="296318"/>
                          <a:pt x="223015" y="287278"/>
                        </a:cubicBezTo>
                        <a:cubicBezTo>
                          <a:pt x="225658" y="286772"/>
                          <a:pt x="228223" y="286154"/>
                          <a:pt x="230756" y="285410"/>
                        </a:cubicBezTo>
                        <a:cubicBezTo>
                          <a:pt x="232830" y="284809"/>
                          <a:pt x="234856" y="284128"/>
                          <a:pt x="236835" y="283384"/>
                        </a:cubicBezTo>
                        <a:cubicBezTo>
                          <a:pt x="246302" y="279806"/>
                          <a:pt x="254836" y="274550"/>
                          <a:pt x="262086" y="267505"/>
                        </a:cubicBezTo>
                        <a:cubicBezTo>
                          <a:pt x="262862" y="266745"/>
                          <a:pt x="263622" y="265969"/>
                          <a:pt x="264366" y="265194"/>
                        </a:cubicBezTo>
                        <a:cubicBezTo>
                          <a:pt x="304657" y="222338"/>
                          <a:pt x="285770" y="135234"/>
                          <a:pt x="221036" y="68569"/>
                        </a:cubicBezTo>
                        <a:close/>
                        <a:moveTo>
                          <a:pt x="207547" y="81645"/>
                        </a:moveTo>
                        <a:cubicBezTo>
                          <a:pt x="212851" y="87107"/>
                          <a:pt x="217774" y="92727"/>
                          <a:pt x="222318" y="98458"/>
                        </a:cubicBezTo>
                        <a:cubicBezTo>
                          <a:pt x="254630" y="139240"/>
                          <a:pt x="267643" y="185768"/>
                          <a:pt x="257527" y="219425"/>
                        </a:cubicBezTo>
                        <a:cubicBezTo>
                          <a:pt x="254424" y="229779"/>
                          <a:pt x="249120" y="238914"/>
                          <a:pt x="241521" y="246291"/>
                        </a:cubicBezTo>
                        <a:cubicBezTo>
                          <a:pt x="205727" y="281025"/>
                          <a:pt x="132491" y="263642"/>
                          <a:pt x="77952" y="207457"/>
                        </a:cubicBezTo>
                        <a:cubicBezTo>
                          <a:pt x="31282" y="159377"/>
                          <a:pt x="13392" y="98474"/>
                          <a:pt x="31614" y="60131"/>
                        </a:cubicBezTo>
                        <a:cubicBezTo>
                          <a:pt x="34701" y="53656"/>
                          <a:pt x="38802" y="47814"/>
                          <a:pt x="43963" y="42811"/>
                        </a:cubicBezTo>
                        <a:cubicBezTo>
                          <a:pt x="44659" y="42130"/>
                          <a:pt x="45387" y="41466"/>
                          <a:pt x="46131" y="40832"/>
                        </a:cubicBezTo>
                        <a:cubicBezTo>
                          <a:pt x="74058" y="16310"/>
                          <a:pt x="122422" y="20964"/>
                          <a:pt x="167542" y="49160"/>
                        </a:cubicBezTo>
                        <a:cubicBezTo>
                          <a:pt x="181410" y="57819"/>
                          <a:pt x="194977" y="68711"/>
                          <a:pt x="207547" y="81661"/>
                        </a:cubicBezTo>
                        <a:close/>
                      </a:path>
                    </a:pathLst>
                  </a:custGeom>
                  <a:solidFill>
                    <a:srgbClr val="FFFFFF">
                      <a:alpha val="24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4" name="Freeform: Shape 53">
                    <a:extLst>
                      <a:ext uri="{FF2B5EF4-FFF2-40B4-BE49-F238E27FC236}">
                        <a16:creationId xmlns:a16="http://schemas.microsoft.com/office/drawing/2014/main" id="{1CB3DE0A-A3FF-25EA-ED28-7C7629C13B54}"/>
                      </a:ext>
                    </a:extLst>
                  </p:cNvPr>
                  <p:cNvSpPr/>
                  <p:nvPr/>
                </p:nvSpPr>
                <p:spPr>
                  <a:xfrm>
                    <a:off x="12155796" y="2470472"/>
                    <a:ext cx="259452" cy="307816"/>
                  </a:xfrm>
                  <a:custGeom>
                    <a:avLst/>
                    <a:gdLst>
                      <a:gd name="connsiteX0" fmla="*/ 257000 w 259452"/>
                      <a:gd name="connsiteY0" fmla="*/ 299417 h 307816"/>
                      <a:gd name="connsiteX1" fmla="*/ 229216 w 259452"/>
                      <a:gd name="connsiteY1" fmla="*/ 302758 h 307816"/>
                      <a:gd name="connsiteX2" fmla="*/ 8654 w 259452"/>
                      <a:gd name="connsiteY2" fmla="*/ 33072 h 307816"/>
                      <a:gd name="connsiteX3" fmla="*/ 2053 w 259452"/>
                      <a:gd name="connsiteY3" fmla="*/ 24982 h 307816"/>
                      <a:gd name="connsiteX4" fmla="*/ 992 w 259452"/>
                      <a:gd name="connsiteY4" fmla="*/ 23731 h 307816"/>
                      <a:gd name="connsiteX5" fmla="*/ 2069 w 259452"/>
                      <a:gd name="connsiteY5" fmla="*/ 15087 h 307816"/>
                      <a:gd name="connsiteX6" fmla="*/ 11599 w 259452"/>
                      <a:gd name="connsiteY6" fmla="*/ 5082 h 307816"/>
                      <a:gd name="connsiteX7" fmla="*/ 28127 w 259452"/>
                      <a:gd name="connsiteY7" fmla="*/ 1963 h 307816"/>
                      <a:gd name="connsiteX8" fmla="*/ 28618 w 259452"/>
                      <a:gd name="connsiteY8" fmla="*/ 2533 h 307816"/>
                      <a:gd name="connsiteX9" fmla="*/ 256493 w 259452"/>
                      <a:gd name="connsiteY9" fmla="*/ 276605 h 307816"/>
                      <a:gd name="connsiteX10" fmla="*/ 257016 w 259452"/>
                      <a:gd name="connsiteY10" fmla="*/ 299433 h 30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9452" h="307816">
                        <a:moveTo>
                          <a:pt x="257000" y="299417"/>
                        </a:moveTo>
                        <a:cubicBezTo>
                          <a:pt x="253169" y="307333"/>
                          <a:pt x="244525" y="311908"/>
                          <a:pt x="229216" y="302758"/>
                        </a:cubicBezTo>
                        <a:cubicBezTo>
                          <a:pt x="202271" y="286657"/>
                          <a:pt x="47314" y="80597"/>
                          <a:pt x="8654" y="33072"/>
                        </a:cubicBezTo>
                        <a:cubicBezTo>
                          <a:pt x="5567" y="29272"/>
                          <a:pt x="3319" y="26517"/>
                          <a:pt x="2053" y="24982"/>
                        </a:cubicBezTo>
                        <a:cubicBezTo>
                          <a:pt x="1530" y="24364"/>
                          <a:pt x="1166" y="23937"/>
                          <a:pt x="992" y="23731"/>
                        </a:cubicBezTo>
                        <a:cubicBezTo>
                          <a:pt x="-765" y="21752"/>
                          <a:pt x="-53" y="18523"/>
                          <a:pt x="2069" y="15087"/>
                        </a:cubicBezTo>
                        <a:cubicBezTo>
                          <a:pt x="4190" y="11620"/>
                          <a:pt x="7736" y="7947"/>
                          <a:pt x="11599" y="5082"/>
                        </a:cubicBezTo>
                        <a:cubicBezTo>
                          <a:pt x="17789" y="507"/>
                          <a:pt x="24802" y="-1979"/>
                          <a:pt x="28127" y="1963"/>
                        </a:cubicBezTo>
                        <a:cubicBezTo>
                          <a:pt x="28238" y="2106"/>
                          <a:pt x="28412" y="2296"/>
                          <a:pt x="28618" y="2533"/>
                        </a:cubicBezTo>
                        <a:cubicBezTo>
                          <a:pt x="42423" y="18570"/>
                          <a:pt x="246979" y="263860"/>
                          <a:pt x="256493" y="276605"/>
                        </a:cubicBezTo>
                        <a:cubicBezTo>
                          <a:pt x="259960" y="281259"/>
                          <a:pt x="260689" y="291866"/>
                          <a:pt x="257016" y="299433"/>
                        </a:cubicBezTo>
                        <a:close/>
                      </a:path>
                    </a:pathLst>
                  </a:custGeom>
                  <a:solidFill>
                    <a:srgbClr val="0267A4"/>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5" name="Freeform: Shape 54">
                    <a:extLst>
                      <a:ext uri="{FF2B5EF4-FFF2-40B4-BE49-F238E27FC236}">
                        <a16:creationId xmlns:a16="http://schemas.microsoft.com/office/drawing/2014/main" id="{EAEEDA48-3020-F96E-EE7E-06B2E492D412}"/>
                      </a:ext>
                    </a:extLst>
                  </p:cNvPr>
                  <p:cNvSpPr/>
                  <p:nvPr/>
                </p:nvSpPr>
                <p:spPr>
                  <a:xfrm>
                    <a:off x="12155780" y="2485560"/>
                    <a:ext cx="257015" cy="292729"/>
                  </a:xfrm>
                  <a:custGeom>
                    <a:avLst/>
                    <a:gdLst>
                      <a:gd name="connsiteX0" fmla="*/ 257016 w 257015"/>
                      <a:gd name="connsiteY0" fmla="*/ 284330 h 292729"/>
                      <a:gd name="connsiteX1" fmla="*/ 229232 w 257015"/>
                      <a:gd name="connsiteY1" fmla="*/ 287671 h 292729"/>
                      <a:gd name="connsiteX2" fmla="*/ 992 w 257015"/>
                      <a:gd name="connsiteY2" fmla="*/ 8644 h 292729"/>
                      <a:gd name="connsiteX3" fmla="*/ 2069 w 257015"/>
                      <a:gd name="connsiteY3" fmla="*/ 0 h 292729"/>
                      <a:gd name="connsiteX4" fmla="*/ 257016 w 257015"/>
                      <a:gd name="connsiteY4" fmla="*/ 284346 h 292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015" h="292729">
                        <a:moveTo>
                          <a:pt x="257016" y="284330"/>
                        </a:moveTo>
                        <a:cubicBezTo>
                          <a:pt x="253185" y="292246"/>
                          <a:pt x="244541" y="296821"/>
                          <a:pt x="229232" y="287671"/>
                        </a:cubicBezTo>
                        <a:cubicBezTo>
                          <a:pt x="199263" y="269765"/>
                          <a:pt x="7372" y="15831"/>
                          <a:pt x="992" y="8644"/>
                        </a:cubicBezTo>
                        <a:cubicBezTo>
                          <a:pt x="-765" y="6665"/>
                          <a:pt x="-53" y="3435"/>
                          <a:pt x="2069" y="0"/>
                        </a:cubicBezTo>
                        <a:cubicBezTo>
                          <a:pt x="37689" y="43188"/>
                          <a:pt x="202667" y="255185"/>
                          <a:pt x="257016" y="284346"/>
                        </a:cubicBezTo>
                        <a:close/>
                      </a:path>
                    </a:pathLst>
                  </a:custGeom>
                  <a:solidFill>
                    <a:srgbClr val="0D0D1E">
                      <a:alpha val="20000"/>
                    </a:srgbClr>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46" name="Freeform: Shape 45">
                  <a:extLst>
                    <a:ext uri="{FF2B5EF4-FFF2-40B4-BE49-F238E27FC236}">
                      <a16:creationId xmlns:a16="http://schemas.microsoft.com/office/drawing/2014/main" id="{0894C5F4-1DA5-75F7-18A5-C9B92084F851}"/>
                    </a:ext>
                  </a:extLst>
                </p:cNvPr>
                <p:cNvSpPr/>
                <p:nvPr/>
              </p:nvSpPr>
              <p:spPr>
                <a:xfrm>
                  <a:off x="12201397" y="2563785"/>
                  <a:ext cx="58845" cy="52477"/>
                </a:xfrm>
                <a:custGeom>
                  <a:avLst/>
                  <a:gdLst>
                    <a:gd name="connsiteX0" fmla="*/ 39360 w 58845"/>
                    <a:gd name="connsiteY0" fmla="*/ 52478 h 52477"/>
                    <a:gd name="connsiteX1" fmla="*/ 56078 w 58845"/>
                    <a:gd name="connsiteY1" fmla="*/ 28050 h 52477"/>
                    <a:gd name="connsiteX2" fmla="*/ 20110 w 58845"/>
                    <a:gd name="connsiteY2" fmla="*/ 203 h 52477"/>
                    <a:gd name="connsiteX3" fmla="*/ 368 w 58845"/>
                    <a:gd name="connsiteY3" fmla="*/ 5664 h 52477"/>
                    <a:gd name="connsiteX4" fmla="*/ 26157 w 58845"/>
                    <a:gd name="connsiteY4" fmla="*/ 41792 h 52477"/>
                    <a:gd name="connsiteX5" fmla="*/ 39376 w 58845"/>
                    <a:gd name="connsiteY5" fmla="*/ 52462 h 5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845" h="52477">
                      <a:moveTo>
                        <a:pt x="39360" y="52478"/>
                      </a:moveTo>
                      <a:cubicBezTo>
                        <a:pt x="52405" y="50040"/>
                        <a:pt x="64437" y="48963"/>
                        <a:pt x="56078" y="28050"/>
                      </a:cubicBezTo>
                      <a:cubicBezTo>
                        <a:pt x="52342" y="18725"/>
                        <a:pt x="27946" y="-2283"/>
                        <a:pt x="20110" y="203"/>
                      </a:cubicBezTo>
                      <a:cubicBezTo>
                        <a:pt x="12273" y="2688"/>
                        <a:pt x="4342" y="630"/>
                        <a:pt x="368" y="5664"/>
                      </a:cubicBezTo>
                      <a:cubicBezTo>
                        <a:pt x="-3622" y="10715"/>
                        <a:pt x="26157" y="41792"/>
                        <a:pt x="26157" y="41792"/>
                      </a:cubicBezTo>
                      <a:lnTo>
                        <a:pt x="39376" y="52462"/>
                      </a:lnTo>
                      <a:close/>
                    </a:path>
                  </a:pathLst>
                </a:custGeom>
                <a:solidFill>
                  <a:srgbClr val="EFAEA6"/>
                </a:solidFill>
                <a:ln w="1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grpSp>
      </p:grpSp>
      <p:sp>
        <p:nvSpPr>
          <p:cNvPr id="79" name="Rectangle 78">
            <a:extLst>
              <a:ext uri="{FF2B5EF4-FFF2-40B4-BE49-F238E27FC236}">
                <a16:creationId xmlns:a16="http://schemas.microsoft.com/office/drawing/2014/main" id="{8B8A4862-09AE-9D83-205C-4C8FD54891D3}"/>
              </a:ext>
            </a:extLst>
          </p:cNvPr>
          <p:cNvSpPr/>
          <p:nvPr/>
        </p:nvSpPr>
        <p:spPr>
          <a:xfrm>
            <a:off x="483728" y="6139543"/>
            <a:ext cx="9912129" cy="50074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Aptos" panose="02110004020202020204"/>
                <a:ea typeface="+mn-ea"/>
                <a:cs typeface="+mn-cs"/>
              </a:rPr>
              <a:t>Impact: If the contracts are spllitted, allocation of discount would be missed which will lead to over-statement of managed services revenue and under-statement of mobile communication services revenue in turn making revenue per performance obligation inaccurate for reporting purposes.</a:t>
            </a:r>
            <a:endParaRPr kumimoji="0" lang="en-GB" sz="1200" b="0" i="0" u="none" strike="noStrike" kern="1200" cap="none" spc="0" normalizeH="0" baseline="0" noProof="0" dirty="0">
              <a:ln>
                <a:noFill/>
              </a:ln>
              <a:solidFill>
                <a:srgbClr val="FF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92362756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A41D1-D090-25BC-7124-0BC6C099E39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0D3692A-4003-8720-080F-A7AADB9B2642}"/>
              </a:ext>
            </a:extLst>
          </p:cNvPr>
          <p:cNvSpPr>
            <a:spLocks noGrp="1"/>
          </p:cNvSpPr>
          <p:nvPr>
            <p:ph type="body" sz="quarter" idx="13"/>
          </p:nvPr>
        </p:nvSpPr>
        <p:spPr>
          <a:xfrm>
            <a:off x="457200" y="682940"/>
            <a:ext cx="11283696" cy="757255"/>
          </a:xfrm>
        </p:spPr>
        <p:txBody>
          <a:bodyPr/>
          <a:lstStyle/>
          <a:p>
            <a:r>
              <a:rPr lang="en-GB" b="1" dirty="0">
                <a:solidFill>
                  <a:srgbClr val="FF0000"/>
                </a:solidFill>
              </a:rPr>
              <a:t>Step 2 – Identifying the performance obligations</a:t>
            </a:r>
          </a:p>
        </p:txBody>
      </p:sp>
      <p:sp>
        <p:nvSpPr>
          <p:cNvPr id="107" name="Rectangle 106">
            <a:extLst>
              <a:ext uri="{FF2B5EF4-FFF2-40B4-BE49-F238E27FC236}">
                <a16:creationId xmlns:a16="http://schemas.microsoft.com/office/drawing/2014/main" id="{9F2A0F47-0C20-385F-676F-B3761BAF43FD}"/>
              </a:ext>
            </a:extLst>
          </p:cNvPr>
          <p:cNvSpPr/>
          <p:nvPr/>
        </p:nvSpPr>
        <p:spPr bwMode="gray">
          <a:xfrm>
            <a:off x="457200" y="2655277"/>
            <a:ext cx="4783015" cy="25380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5912D05C-8AC4-B832-0D80-A7FE0AFB500B}"/>
              </a:ext>
            </a:extLst>
          </p:cNvPr>
          <p:cNvSpPr/>
          <p:nvPr/>
        </p:nvSpPr>
        <p:spPr bwMode="gray">
          <a:xfrm>
            <a:off x="251388" y="1027928"/>
            <a:ext cx="11086631" cy="312094"/>
          </a:xfrm>
          <a:prstGeom prst="rect">
            <a:avLst/>
          </a:prstGeom>
          <a:noFill/>
          <a:ln w="19050" algn="ctr">
            <a:solidFill>
              <a:schemeClr val="bg1"/>
            </a:solidFill>
            <a:miter lim="800000"/>
            <a:headEnd/>
            <a:tailEnd/>
          </a:ln>
        </p:spPr>
        <p:txBody>
          <a:bodyPr wrap="square" lIns="457200" tIns="88900" rIns="88900" bIns="88900" rtlCol="0" anchor="ct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E023E01C-12DD-E7D2-BBA7-8A38182962DC}"/>
              </a:ext>
            </a:extLst>
          </p:cNvPr>
          <p:cNvSpPr txBox="1"/>
          <p:nvPr/>
        </p:nvSpPr>
        <p:spPr>
          <a:xfrm>
            <a:off x="460724" y="1022046"/>
            <a:ext cx="10064496" cy="4181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A performance obligation is a promise to transfer to the customer a good or service (or a bundle of goods or services) that is </a:t>
            </a:r>
            <a:r>
              <a:rPr kumimoji="0" lang="en-GB" sz="1200" b="1" i="0" u="none" strike="noStrike" kern="1200" cap="none" spc="0" normalizeH="0" baseline="0" noProof="0" dirty="0">
                <a:ln>
                  <a:noFill/>
                </a:ln>
                <a:solidFill>
                  <a:prstClr val="black"/>
                </a:solidFill>
                <a:effectLst/>
                <a:uLnTx/>
                <a:uFillTx/>
                <a:latin typeface="Aptos" panose="02110004020202020204"/>
                <a:ea typeface="+mn-ea"/>
                <a:cs typeface="+mn-cs"/>
              </a:rPr>
              <a:t>distinct</a:t>
            </a: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 or, in certain </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ptos" panose="02110004020202020204"/>
                <a:ea typeface="+mn-ea"/>
                <a:cs typeface="+mn-cs"/>
              </a:rPr>
              <a:t> circumstances, a series of distinct goods or services</a:t>
            </a: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 These promises may not be limited to those explicitly included in written contracts.</a:t>
            </a:r>
          </a:p>
        </p:txBody>
      </p:sp>
      <p:graphicFrame>
        <p:nvGraphicFramePr>
          <p:cNvPr id="6" name="Table 5">
            <a:extLst>
              <a:ext uri="{FF2B5EF4-FFF2-40B4-BE49-F238E27FC236}">
                <a16:creationId xmlns:a16="http://schemas.microsoft.com/office/drawing/2014/main" id="{5767E967-CDCC-A5EE-E21E-472828BFF036}"/>
              </a:ext>
            </a:extLst>
          </p:cNvPr>
          <p:cNvGraphicFramePr>
            <a:graphicFrameLocks noGrp="1"/>
          </p:cNvGraphicFramePr>
          <p:nvPr/>
        </p:nvGraphicFramePr>
        <p:xfrm>
          <a:off x="418405" y="1655633"/>
          <a:ext cx="10064496" cy="3413760"/>
        </p:xfrm>
        <a:graphic>
          <a:graphicData uri="http://schemas.openxmlformats.org/drawingml/2006/table">
            <a:tbl>
              <a:tblPr firstRow="1" bandRow="1">
                <a:tableStyleId>{93296810-A885-4BE3-A3E7-6D5BEEA58F35}</a:tableStyleId>
              </a:tblPr>
              <a:tblGrid>
                <a:gridCol w="2516124">
                  <a:extLst>
                    <a:ext uri="{9D8B030D-6E8A-4147-A177-3AD203B41FA5}">
                      <a16:colId xmlns:a16="http://schemas.microsoft.com/office/drawing/2014/main" val="379230182"/>
                    </a:ext>
                  </a:extLst>
                </a:gridCol>
                <a:gridCol w="2516124">
                  <a:extLst>
                    <a:ext uri="{9D8B030D-6E8A-4147-A177-3AD203B41FA5}">
                      <a16:colId xmlns:a16="http://schemas.microsoft.com/office/drawing/2014/main" val="3152737432"/>
                    </a:ext>
                  </a:extLst>
                </a:gridCol>
                <a:gridCol w="2516124">
                  <a:extLst>
                    <a:ext uri="{9D8B030D-6E8A-4147-A177-3AD203B41FA5}">
                      <a16:colId xmlns:a16="http://schemas.microsoft.com/office/drawing/2014/main" val="960634366"/>
                    </a:ext>
                  </a:extLst>
                </a:gridCol>
                <a:gridCol w="2516124">
                  <a:extLst>
                    <a:ext uri="{9D8B030D-6E8A-4147-A177-3AD203B41FA5}">
                      <a16:colId xmlns:a16="http://schemas.microsoft.com/office/drawing/2014/main" val="599992902"/>
                    </a:ext>
                  </a:extLst>
                </a:gridCol>
              </a:tblGrid>
              <a:tr h="613249">
                <a:tc>
                  <a:txBody>
                    <a:bodyPr/>
                    <a:lstStyle/>
                    <a:p>
                      <a:r>
                        <a:rPr lang="en-US" sz="1200" dirty="0"/>
                        <a:t>Promises</a:t>
                      </a:r>
                      <a:endParaRPr lang="en-GB" sz="1200" dirty="0"/>
                    </a:p>
                  </a:txBody>
                  <a:tcPr>
                    <a:solidFill>
                      <a:srgbClr val="FF0000"/>
                    </a:solidFill>
                  </a:tcPr>
                </a:tc>
                <a:tc>
                  <a:txBody>
                    <a:bodyPr/>
                    <a:lstStyle/>
                    <a:p>
                      <a:r>
                        <a:rPr lang="en-US" sz="1200" dirty="0"/>
                        <a:t>Customer can benefit from the good or service either on its own or together with other resources that are readily available to the customer</a:t>
                      </a:r>
                      <a:endParaRPr lang="en-GB" sz="1200" dirty="0"/>
                    </a:p>
                  </a:txBody>
                  <a:tcPr>
                    <a:solidFill>
                      <a:srgbClr val="FF0000"/>
                    </a:solidFill>
                  </a:tcPr>
                </a:tc>
                <a:tc>
                  <a:txBody>
                    <a:bodyPr/>
                    <a:lstStyle/>
                    <a:p>
                      <a:r>
                        <a:rPr lang="en-US" sz="1200" b="1" kern="1200" dirty="0">
                          <a:solidFill>
                            <a:schemeClr val="lt1"/>
                          </a:solidFill>
                          <a:latin typeface="+mn-lt"/>
                          <a:ea typeface="+mn-ea"/>
                          <a:cs typeface="+mn-cs"/>
                        </a:rPr>
                        <a:t>Vodafone’s promise to transfer the good or service to the customer is separately identifiable from other promises in the contract</a:t>
                      </a:r>
                      <a:endParaRPr lang="en-GB" sz="1200" b="1" kern="1200" dirty="0">
                        <a:solidFill>
                          <a:schemeClr val="lt1"/>
                        </a:solidFill>
                        <a:latin typeface="+mn-lt"/>
                        <a:ea typeface="+mn-ea"/>
                        <a:cs typeface="+mn-cs"/>
                      </a:endParaRPr>
                    </a:p>
                  </a:txBody>
                  <a:tcPr>
                    <a:solidFill>
                      <a:srgbClr val="FF0000"/>
                    </a:solidFill>
                  </a:tcPr>
                </a:tc>
                <a:tc>
                  <a:txBody>
                    <a:bodyPr/>
                    <a:lstStyle/>
                    <a:p>
                      <a:pPr algn="l"/>
                      <a:r>
                        <a:rPr lang="en-US" sz="1200" b="1" kern="1200" dirty="0">
                          <a:solidFill>
                            <a:schemeClr val="lt1"/>
                          </a:solidFill>
                          <a:latin typeface="+mn-lt"/>
                          <a:ea typeface="+mn-ea"/>
                          <a:cs typeface="+mn-cs"/>
                        </a:rPr>
                        <a:t>Conclusion: Distinct PO</a:t>
                      </a:r>
                      <a:endParaRPr lang="en-GB" sz="1200" b="1" kern="1200" dirty="0">
                        <a:solidFill>
                          <a:schemeClr val="lt1"/>
                        </a:solidFill>
                        <a:latin typeface="+mn-lt"/>
                        <a:ea typeface="+mn-ea"/>
                        <a:cs typeface="+mn-cs"/>
                      </a:endParaRPr>
                    </a:p>
                  </a:txBody>
                  <a:tcPr>
                    <a:solidFill>
                      <a:srgbClr val="FF0000"/>
                    </a:solidFill>
                  </a:tcPr>
                </a:tc>
                <a:extLst>
                  <a:ext uri="{0D108BD9-81ED-4DB2-BD59-A6C34878D82A}">
                    <a16:rowId xmlns:a16="http://schemas.microsoft.com/office/drawing/2014/main" val="4038389200"/>
                  </a:ext>
                </a:extLst>
              </a:tr>
              <a:tr h="635962">
                <a:tc>
                  <a:txBody>
                    <a:bodyPr/>
                    <a:lstStyle/>
                    <a:p>
                      <a:r>
                        <a:rPr lang="en-US" sz="1000" b="1" dirty="0"/>
                        <a:t>Upfront services (e.g. Activation/Shipping)</a:t>
                      </a:r>
                      <a:endParaRPr lang="en-GB" sz="1000" b="1" dirty="0"/>
                    </a:p>
                  </a:txBody>
                  <a:tcPr>
                    <a:solidFill>
                      <a:schemeClr val="bg1">
                        <a:lumMod val="95000"/>
                      </a:schemeClr>
                    </a:solidFill>
                  </a:tcPr>
                </a:tc>
                <a:tc>
                  <a:txBody>
                    <a:bodyPr/>
                    <a:lstStyle/>
                    <a:p>
                      <a:r>
                        <a:rPr lang="en-US" sz="1000" b="1" dirty="0">
                          <a:solidFill>
                            <a:schemeClr val="tx1"/>
                          </a:solidFill>
                        </a:rPr>
                        <a:t>No</a:t>
                      </a:r>
                      <a:r>
                        <a:rPr lang="en-US" sz="1000" b="0" dirty="0">
                          <a:solidFill>
                            <a:schemeClr val="tx1"/>
                          </a:solidFill>
                        </a:rPr>
                        <a:t> distinct benefit from activation/shipping as the key benefit comes from the ongoing service that activation enables</a:t>
                      </a:r>
                      <a:endParaRPr lang="en-GB" sz="1000" b="0"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rPr>
                        <a:t>No. </a:t>
                      </a:r>
                      <a:r>
                        <a:rPr lang="en-US" sz="1000" b="0" dirty="0">
                          <a:solidFill>
                            <a:schemeClr val="tx1"/>
                          </a:solidFill>
                        </a:rPr>
                        <a:t>activation is a preparatory step, highly integrated with, and essential for, the delivery of the core telecommunication service</a:t>
                      </a:r>
                    </a:p>
                  </a:txBody>
                  <a:tcPr>
                    <a:solidFill>
                      <a:schemeClr val="bg1">
                        <a:lumMod val="95000"/>
                      </a:schemeClr>
                    </a:solidFill>
                  </a:tcPr>
                </a:tc>
                <a:tc>
                  <a:txBody>
                    <a:bodyPr/>
                    <a:lstStyle/>
                    <a:p>
                      <a:r>
                        <a:rPr lang="en-US" sz="1000" b="1" dirty="0"/>
                        <a:t>No</a:t>
                      </a:r>
                      <a:r>
                        <a:rPr lang="en-US" sz="1000" dirty="0"/>
                        <a:t>, not a distinct performance obligation</a:t>
                      </a:r>
                      <a:endParaRPr lang="en-GB" sz="1000" dirty="0"/>
                    </a:p>
                  </a:txBody>
                  <a:tcPr>
                    <a:solidFill>
                      <a:schemeClr val="bg1">
                        <a:lumMod val="95000"/>
                      </a:schemeClr>
                    </a:solidFill>
                  </a:tcPr>
                </a:tc>
                <a:extLst>
                  <a:ext uri="{0D108BD9-81ED-4DB2-BD59-A6C34878D82A}">
                    <a16:rowId xmlns:a16="http://schemas.microsoft.com/office/drawing/2014/main" val="810335165"/>
                  </a:ext>
                </a:extLst>
              </a:tr>
              <a:tr h="635962">
                <a:tc>
                  <a:txBody>
                    <a:bodyPr/>
                    <a:lstStyle/>
                    <a:p>
                      <a:r>
                        <a:rPr lang="en-US" sz="1000" b="1" dirty="0"/>
                        <a:t>Managed Services (Repair, Help Desk, Admin)</a:t>
                      </a:r>
                      <a:endParaRPr lang="en-GB" sz="1000" b="1" dirty="0"/>
                    </a:p>
                  </a:txBody>
                  <a:tcPr>
                    <a:solidFill>
                      <a:schemeClr val="bg1">
                        <a:lumMod val="95000"/>
                      </a:schemeClr>
                    </a:solidFill>
                  </a:tcPr>
                </a:tc>
                <a:tc>
                  <a:txBody>
                    <a:bodyPr/>
                    <a:lstStyle/>
                    <a:p>
                      <a:r>
                        <a:rPr lang="en-US" sz="1000" b="1" kern="1200" dirty="0">
                          <a:solidFill>
                            <a:schemeClr val="dk1"/>
                          </a:solidFill>
                          <a:latin typeface="+mn-lt"/>
                          <a:ea typeface="+mn-ea"/>
                          <a:cs typeface="+mn-cs"/>
                        </a:rPr>
                        <a:t>Yes</a:t>
                      </a:r>
                      <a:r>
                        <a:rPr lang="en-US" sz="1000" b="0" kern="1200" dirty="0">
                          <a:solidFill>
                            <a:schemeClr val="dk1"/>
                          </a:solidFill>
                          <a:latin typeface="+mn-lt"/>
                          <a:ea typeface="+mn-ea"/>
                          <a:cs typeface="+mn-cs"/>
                        </a:rPr>
                        <a:t>, customers can obtain these services from various third-party providers, and they provide a clear benefit independently of the device or the mobile contract.</a:t>
                      </a:r>
                      <a:endParaRPr lang="en-GB" sz="1000" b="0" kern="1200" dirty="0">
                        <a:solidFill>
                          <a:schemeClr val="dk1"/>
                        </a:solidFill>
                        <a:latin typeface="+mn-lt"/>
                        <a:ea typeface="+mn-ea"/>
                        <a:cs typeface="+mn-cs"/>
                      </a:endParaRP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 </a:t>
                      </a:r>
                      <a:r>
                        <a:rPr lang="en-US" sz="1000" b="1" dirty="0">
                          <a:solidFill>
                            <a:schemeClr val="tx1"/>
                          </a:solidFill>
                        </a:rPr>
                        <a:t>Yes, </a:t>
                      </a:r>
                      <a:r>
                        <a:rPr lang="en-US" sz="1000" b="0" dirty="0">
                          <a:solidFill>
                            <a:schemeClr val="tx1"/>
                          </a:solidFill>
                        </a:rPr>
                        <a:t>these are ongoing services, clearly separate from other components, and are not so highly integrated that they lose their individual identity. </a:t>
                      </a:r>
                    </a:p>
                  </a:txBody>
                  <a:tcPr>
                    <a:solidFill>
                      <a:schemeClr val="bg1">
                        <a:lumMod val="95000"/>
                      </a:schemeClr>
                    </a:solidFill>
                  </a:tcPr>
                </a:tc>
                <a:tc>
                  <a:txBody>
                    <a:bodyPr/>
                    <a:lstStyle/>
                    <a:p>
                      <a:r>
                        <a:rPr lang="en-US" sz="1000" b="1" dirty="0"/>
                        <a:t>Yes</a:t>
                      </a:r>
                      <a:r>
                        <a:rPr lang="en-US" sz="1000" dirty="0"/>
                        <a:t>,  distinct performance obligation</a:t>
                      </a:r>
                      <a:endParaRPr lang="en-GB" sz="1000" dirty="0"/>
                    </a:p>
                  </a:txBody>
                  <a:tcPr>
                    <a:solidFill>
                      <a:schemeClr val="bg1">
                        <a:lumMod val="95000"/>
                      </a:schemeClr>
                    </a:solidFill>
                  </a:tcPr>
                </a:tc>
                <a:extLst>
                  <a:ext uri="{0D108BD9-81ED-4DB2-BD59-A6C34878D82A}">
                    <a16:rowId xmlns:a16="http://schemas.microsoft.com/office/drawing/2014/main" val="650691270"/>
                  </a:ext>
                </a:extLst>
              </a:tr>
              <a:tr h="749526">
                <a:tc>
                  <a:txBody>
                    <a:bodyPr/>
                    <a:lstStyle/>
                    <a:p>
                      <a:r>
                        <a:rPr lang="fr-FR" sz="1000" b="1" dirty="0"/>
                        <a:t>Mobile Phone Contract (Mobile Communications Services)</a:t>
                      </a:r>
                      <a:endParaRPr lang="en-GB" sz="1000" b="1"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t>Yes</a:t>
                      </a:r>
                      <a:r>
                        <a:rPr lang="en-US" sz="1000" b="0" dirty="0"/>
                        <a:t>, mobile communications services (calls, data, SMS) are a quintessential standalone service. Customers routinely purchase these services independently of devices or other managed services (e.g., bringing their own device).</a:t>
                      </a:r>
                      <a:endParaRPr lang="en-GB" sz="1000" b="0" dirty="0">
                        <a:solidFill>
                          <a:schemeClr val="tx1"/>
                        </a:solidFill>
                      </a:endParaRPr>
                    </a:p>
                  </a:txBody>
                  <a:tcPr>
                    <a:solidFill>
                      <a:schemeClr val="bg1">
                        <a:lumMod val="95000"/>
                      </a:schemeClr>
                    </a:solidFill>
                  </a:tcPr>
                </a:tc>
                <a:tc>
                  <a:txBody>
                    <a:bodyPr/>
                    <a:lstStyle/>
                    <a:p>
                      <a:r>
                        <a:rPr lang="en-US" sz="1000" b="1" dirty="0">
                          <a:solidFill>
                            <a:schemeClr val="tx1"/>
                          </a:solidFill>
                        </a:rPr>
                        <a:t>Yes</a:t>
                      </a:r>
                      <a:r>
                        <a:rPr lang="en-US" sz="1000" b="0" dirty="0">
                          <a:solidFill>
                            <a:schemeClr val="tx1"/>
                          </a:solidFill>
                        </a:rPr>
                        <a:t>, the mobile communications contract is essentially separate, and Vodafone's promise to provide these services is separately identifiable. It's often an optional add-on, reinforcing its distinct nature.</a:t>
                      </a:r>
                      <a:endParaRPr lang="en-GB" sz="1000" b="0" dirty="0"/>
                    </a:p>
                  </a:txBody>
                  <a:tcPr>
                    <a:solidFill>
                      <a:schemeClr val="bg1">
                        <a:lumMod val="95000"/>
                      </a:schemeClr>
                    </a:solidFill>
                  </a:tcPr>
                </a:tc>
                <a:tc>
                  <a:txBody>
                    <a:bodyPr/>
                    <a:lstStyle/>
                    <a:p>
                      <a:r>
                        <a:rPr lang="en-US" sz="1000" b="1" dirty="0"/>
                        <a:t>Yes</a:t>
                      </a:r>
                      <a:r>
                        <a:rPr lang="en-US" sz="1000" dirty="0"/>
                        <a:t>,  distinct performance obligation</a:t>
                      </a:r>
                      <a:endParaRPr lang="en-GB" sz="1000" dirty="0"/>
                    </a:p>
                  </a:txBody>
                  <a:tcPr>
                    <a:solidFill>
                      <a:schemeClr val="bg1">
                        <a:lumMod val="95000"/>
                      </a:schemeClr>
                    </a:solidFill>
                  </a:tcPr>
                </a:tc>
                <a:extLst>
                  <a:ext uri="{0D108BD9-81ED-4DB2-BD59-A6C34878D82A}">
                    <a16:rowId xmlns:a16="http://schemas.microsoft.com/office/drawing/2014/main" val="3763753461"/>
                  </a:ext>
                </a:extLst>
              </a:tr>
            </a:tbl>
          </a:graphicData>
        </a:graphic>
      </p:graphicFrame>
      <p:sp>
        <p:nvSpPr>
          <p:cNvPr id="13" name="Frame 12">
            <a:extLst>
              <a:ext uri="{FF2B5EF4-FFF2-40B4-BE49-F238E27FC236}">
                <a16:creationId xmlns:a16="http://schemas.microsoft.com/office/drawing/2014/main" id="{18023D10-3239-561B-9255-92DD18250343}"/>
              </a:ext>
            </a:extLst>
          </p:cNvPr>
          <p:cNvSpPr/>
          <p:nvPr/>
        </p:nvSpPr>
        <p:spPr bwMode="gray">
          <a:xfrm>
            <a:off x="10868482" y="1677788"/>
            <a:ext cx="1021529" cy="3413759"/>
          </a:xfrm>
          <a:prstGeom prst="frame">
            <a:avLst>
              <a:gd name="adj1" fmla="val 6224"/>
            </a:avLst>
          </a:prstGeom>
          <a:solidFill>
            <a:schemeClr val="tx1"/>
          </a:solidFill>
          <a:ln w="19050" algn="ctr">
            <a:noFill/>
            <a:miter lim="800000"/>
            <a:headEnd/>
            <a:tailEnd/>
          </a:ln>
        </p:spPr>
        <p:txBody>
          <a:bodyPr wrap="square" lIns="0" tIns="1371600" rIns="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1200" cap="none" spc="0" normalizeH="0" baseline="0" noProof="0" dirty="0">
                <a:ln>
                  <a:noFill/>
                </a:ln>
                <a:solidFill>
                  <a:srgbClr val="00D639"/>
                </a:solidFill>
                <a:effectLst/>
                <a:uLnTx/>
                <a:uFillTx/>
                <a:latin typeface="Aptos" panose="02110004020202020204"/>
                <a:ea typeface="+mn-ea"/>
                <a:cs typeface="+mn-cs"/>
              </a:rPr>
              <a:t>Step 2</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Identify performance obligations</a:t>
            </a:r>
          </a:p>
        </p:txBody>
      </p:sp>
      <p:cxnSp>
        <p:nvCxnSpPr>
          <p:cNvPr id="16" name="Straight Connector 15">
            <a:extLst>
              <a:ext uri="{FF2B5EF4-FFF2-40B4-BE49-F238E27FC236}">
                <a16:creationId xmlns:a16="http://schemas.microsoft.com/office/drawing/2014/main" id="{4EE64CFE-C0E8-07E8-8307-2A50BA7BC6B0}"/>
              </a:ext>
            </a:extLst>
          </p:cNvPr>
          <p:cNvCxnSpPr>
            <a:cxnSpLocks/>
          </p:cNvCxnSpPr>
          <p:nvPr/>
        </p:nvCxnSpPr>
        <p:spPr>
          <a:xfrm>
            <a:off x="11096588" y="2732283"/>
            <a:ext cx="6770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Freeform: Shape 16">
            <a:extLst>
              <a:ext uri="{FF2B5EF4-FFF2-40B4-BE49-F238E27FC236}">
                <a16:creationId xmlns:a16="http://schemas.microsoft.com/office/drawing/2014/main" id="{3DDA6843-FC28-73DB-8044-B73BF7B54E05}"/>
              </a:ext>
            </a:extLst>
          </p:cNvPr>
          <p:cNvSpPr/>
          <p:nvPr/>
        </p:nvSpPr>
        <p:spPr>
          <a:xfrm>
            <a:off x="11141793" y="1924834"/>
            <a:ext cx="392452" cy="545232"/>
          </a:xfrm>
          <a:custGeom>
            <a:avLst/>
            <a:gdLst>
              <a:gd name="connsiteX0" fmla="*/ 0 w 779528"/>
              <a:gd name="connsiteY0" fmla="*/ 24 h 1111914"/>
              <a:gd name="connsiteX1" fmla="*/ 0 w 779528"/>
              <a:gd name="connsiteY1" fmla="*/ 1111914 h 1111914"/>
              <a:gd name="connsiteX2" fmla="*/ 691257 w 779528"/>
              <a:gd name="connsiteY2" fmla="*/ 1111914 h 1111914"/>
              <a:gd name="connsiteX3" fmla="*/ 694819 w 779528"/>
              <a:gd name="connsiteY3" fmla="*/ 962295 h 1111914"/>
              <a:gd name="connsiteX4" fmla="*/ 696496 w 779528"/>
              <a:gd name="connsiteY4" fmla="*/ 892427 h 1111914"/>
              <a:gd name="connsiteX5" fmla="*/ 697481 w 779528"/>
              <a:gd name="connsiteY5" fmla="*/ 883663 h 1111914"/>
              <a:gd name="connsiteX6" fmla="*/ 705066 w 779528"/>
              <a:gd name="connsiteY6" fmla="*/ 865515 h 1111914"/>
              <a:gd name="connsiteX7" fmla="*/ 711362 w 779528"/>
              <a:gd name="connsiteY7" fmla="*/ 857894 h 1111914"/>
              <a:gd name="connsiteX8" fmla="*/ 711435 w 779528"/>
              <a:gd name="connsiteY8" fmla="*/ 857821 h 1111914"/>
              <a:gd name="connsiteX9" fmla="*/ 711508 w 779528"/>
              <a:gd name="connsiteY9" fmla="*/ 857748 h 1111914"/>
              <a:gd name="connsiteX10" fmla="*/ 730665 w 779528"/>
              <a:gd name="connsiteY10" fmla="*/ 845921 h 1111914"/>
              <a:gd name="connsiteX11" fmla="*/ 730665 w 779528"/>
              <a:gd name="connsiteY11" fmla="*/ 753371 h 1111914"/>
              <a:gd name="connsiteX12" fmla="*/ 555216 w 779528"/>
              <a:gd name="connsiteY12" fmla="*/ 670350 h 1111914"/>
              <a:gd name="connsiteX13" fmla="*/ 510253 w 779528"/>
              <a:gd name="connsiteY13" fmla="*/ 620477 h 1111914"/>
              <a:gd name="connsiteX14" fmla="*/ 224009 w 779528"/>
              <a:gd name="connsiteY14" fmla="*/ 620477 h 1111914"/>
              <a:gd name="connsiteX15" fmla="*/ 212340 w 779528"/>
              <a:gd name="connsiteY15" fmla="*/ 608820 h 1111914"/>
              <a:gd name="connsiteX16" fmla="*/ 224009 w 779528"/>
              <a:gd name="connsiteY16" fmla="*/ 597151 h 1111914"/>
              <a:gd name="connsiteX17" fmla="*/ 494585 w 779528"/>
              <a:gd name="connsiteY17" fmla="*/ 597151 h 1111914"/>
              <a:gd name="connsiteX18" fmla="*/ 459639 w 779528"/>
              <a:gd name="connsiteY18" fmla="*/ 518956 h 1111914"/>
              <a:gd name="connsiteX19" fmla="*/ 84418 w 779528"/>
              <a:gd name="connsiteY19" fmla="*/ 518956 h 1111914"/>
              <a:gd name="connsiteX20" fmla="*/ 72749 w 779528"/>
              <a:gd name="connsiteY20" fmla="*/ 507287 h 1111914"/>
              <a:gd name="connsiteX21" fmla="*/ 84418 w 779528"/>
              <a:gd name="connsiteY21" fmla="*/ 495631 h 1111914"/>
              <a:gd name="connsiteX22" fmla="*/ 453561 w 779528"/>
              <a:gd name="connsiteY22" fmla="*/ 495631 h 1111914"/>
              <a:gd name="connsiteX23" fmla="*/ 451069 w 779528"/>
              <a:gd name="connsiteY23" fmla="*/ 483220 h 1111914"/>
              <a:gd name="connsiteX24" fmla="*/ 445916 w 779528"/>
              <a:gd name="connsiteY24" fmla="*/ 436738 h 1111914"/>
              <a:gd name="connsiteX25" fmla="*/ 445612 w 779528"/>
              <a:gd name="connsiteY25" fmla="*/ 423039 h 1111914"/>
              <a:gd name="connsiteX26" fmla="*/ 445685 w 779528"/>
              <a:gd name="connsiteY26" fmla="*/ 417436 h 1111914"/>
              <a:gd name="connsiteX27" fmla="*/ 84418 w 779528"/>
              <a:gd name="connsiteY27" fmla="*/ 417436 h 1111914"/>
              <a:gd name="connsiteX28" fmla="*/ 72749 w 779528"/>
              <a:gd name="connsiteY28" fmla="*/ 405767 h 1111914"/>
              <a:gd name="connsiteX29" fmla="*/ 84418 w 779528"/>
              <a:gd name="connsiteY29" fmla="*/ 394098 h 1111914"/>
              <a:gd name="connsiteX30" fmla="*/ 446876 w 779528"/>
              <a:gd name="connsiteY30" fmla="*/ 394098 h 1111914"/>
              <a:gd name="connsiteX31" fmla="*/ 459068 w 779528"/>
              <a:gd name="connsiteY31" fmla="*/ 328958 h 1111914"/>
              <a:gd name="connsiteX32" fmla="*/ 463176 w 779528"/>
              <a:gd name="connsiteY32" fmla="*/ 315915 h 1111914"/>
              <a:gd name="connsiteX33" fmla="*/ 121334 w 779528"/>
              <a:gd name="connsiteY33" fmla="*/ 315915 h 1111914"/>
              <a:gd name="connsiteX34" fmla="*/ 109665 w 779528"/>
              <a:gd name="connsiteY34" fmla="*/ 304246 h 1111914"/>
              <a:gd name="connsiteX35" fmla="*/ 121334 w 779528"/>
              <a:gd name="connsiteY35" fmla="*/ 292577 h 1111914"/>
              <a:gd name="connsiteX36" fmla="*/ 472074 w 779528"/>
              <a:gd name="connsiteY36" fmla="*/ 292577 h 1111914"/>
              <a:gd name="connsiteX37" fmla="*/ 492823 w 779528"/>
              <a:gd name="connsiteY37" fmla="*/ 251808 h 1111914"/>
              <a:gd name="connsiteX38" fmla="*/ 492847 w 779528"/>
              <a:gd name="connsiteY38" fmla="*/ 251748 h 1111914"/>
              <a:gd name="connsiteX39" fmla="*/ 493941 w 779528"/>
              <a:gd name="connsiteY39" fmla="*/ 249973 h 1111914"/>
              <a:gd name="connsiteX40" fmla="*/ 518847 w 779528"/>
              <a:gd name="connsiteY40" fmla="*/ 214382 h 1111914"/>
              <a:gd name="connsiteX41" fmla="*/ 84418 w 779528"/>
              <a:gd name="connsiteY41" fmla="*/ 214382 h 1111914"/>
              <a:gd name="connsiteX42" fmla="*/ 72749 w 779528"/>
              <a:gd name="connsiteY42" fmla="*/ 202725 h 1111914"/>
              <a:gd name="connsiteX43" fmla="*/ 84418 w 779528"/>
              <a:gd name="connsiteY43" fmla="*/ 191056 h 1111914"/>
              <a:gd name="connsiteX44" fmla="*/ 539389 w 779528"/>
              <a:gd name="connsiteY44" fmla="*/ 191056 h 1111914"/>
              <a:gd name="connsiteX45" fmla="*/ 579101 w 779528"/>
              <a:gd name="connsiteY45" fmla="*/ 155976 h 1111914"/>
              <a:gd name="connsiteX46" fmla="*/ 624039 w 779528"/>
              <a:gd name="connsiteY46" fmla="*/ 127484 h 1111914"/>
              <a:gd name="connsiteX47" fmla="*/ 624440 w 779528"/>
              <a:gd name="connsiteY47" fmla="*/ 127266 h 1111914"/>
              <a:gd name="connsiteX48" fmla="*/ 624950 w 779528"/>
              <a:gd name="connsiteY48" fmla="*/ 126998 h 1111914"/>
              <a:gd name="connsiteX49" fmla="*/ 779492 w 779528"/>
              <a:gd name="connsiteY49" fmla="*/ 89134 h 1111914"/>
              <a:gd name="connsiteX50" fmla="*/ 779529 w 779528"/>
              <a:gd name="connsiteY50" fmla="*/ 89134 h 1111914"/>
              <a:gd name="connsiteX51" fmla="*/ 779529 w 779528"/>
              <a:gd name="connsiteY51" fmla="*/ 0 h 1111914"/>
              <a:gd name="connsiteX52" fmla="*/ 0 w 779528"/>
              <a:gd name="connsiteY52" fmla="*/ 0 h 1111914"/>
              <a:gd name="connsiteX53" fmla="*/ 652263 w 779528"/>
              <a:gd name="connsiteY53" fmla="*/ 973843 h 1111914"/>
              <a:gd name="connsiteX54" fmla="*/ 499994 w 779528"/>
              <a:gd name="connsiteY54" fmla="*/ 973843 h 1111914"/>
              <a:gd name="connsiteX55" fmla="*/ 488325 w 779528"/>
              <a:gd name="connsiteY55" fmla="*/ 962174 h 1111914"/>
              <a:gd name="connsiteX56" fmla="*/ 499994 w 779528"/>
              <a:gd name="connsiteY56" fmla="*/ 950517 h 1111914"/>
              <a:gd name="connsiteX57" fmla="*/ 652263 w 779528"/>
              <a:gd name="connsiteY57" fmla="*/ 950517 h 1111914"/>
              <a:gd name="connsiteX58" fmla="*/ 663932 w 779528"/>
              <a:gd name="connsiteY58" fmla="*/ 962174 h 1111914"/>
              <a:gd name="connsiteX59" fmla="*/ 652263 w 779528"/>
              <a:gd name="connsiteY59" fmla="*/ 973843 h 1111914"/>
              <a:gd name="connsiteX60" fmla="*/ 383097 w 779528"/>
              <a:gd name="connsiteY60" fmla="*/ 786713 h 1111914"/>
              <a:gd name="connsiteX61" fmla="*/ 655351 w 779528"/>
              <a:gd name="connsiteY61" fmla="*/ 786713 h 1111914"/>
              <a:gd name="connsiteX62" fmla="*/ 667020 w 779528"/>
              <a:gd name="connsiteY62" fmla="*/ 798382 h 1111914"/>
              <a:gd name="connsiteX63" fmla="*/ 655351 w 779528"/>
              <a:gd name="connsiteY63" fmla="*/ 810051 h 1111914"/>
              <a:gd name="connsiteX64" fmla="*/ 383097 w 779528"/>
              <a:gd name="connsiteY64" fmla="*/ 810051 h 1111914"/>
              <a:gd name="connsiteX65" fmla="*/ 371428 w 779528"/>
              <a:gd name="connsiteY65" fmla="*/ 798382 h 1111914"/>
              <a:gd name="connsiteX66" fmla="*/ 383097 w 779528"/>
              <a:gd name="connsiteY66" fmla="*/ 786713 h 1111914"/>
              <a:gd name="connsiteX67" fmla="*/ 182086 w 779528"/>
              <a:gd name="connsiteY67" fmla="*/ 747876 h 1111914"/>
              <a:gd name="connsiteX68" fmla="*/ 314493 w 779528"/>
              <a:gd name="connsiteY68" fmla="*/ 880296 h 1111914"/>
              <a:gd name="connsiteX69" fmla="*/ 182086 w 779528"/>
              <a:gd name="connsiteY69" fmla="*/ 1012703 h 1111914"/>
              <a:gd name="connsiteX70" fmla="*/ 49679 w 779528"/>
              <a:gd name="connsiteY70" fmla="*/ 880296 h 1111914"/>
              <a:gd name="connsiteX71" fmla="*/ 182086 w 779528"/>
              <a:gd name="connsiteY71" fmla="*/ 747876 h 1111914"/>
              <a:gd name="connsiteX72" fmla="*/ 506631 w 779528"/>
              <a:gd name="connsiteY72" fmla="*/ 112886 h 1111914"/>
              <a:gd name="connsiteX73" fmla="*/ 195165 w 779528"/>
              <a:gd name="connsiteY73" fmla="*/ 112886 h 1111914"/>
              <a:gd name="connsiteX74" fmla="*/ 183496 w 779528"/>
              <a:gd name="connsiteY74" fmla="*/ 101217 h 1111914"/>
              <a:gd name="connsiteX75" fmla="*/ 195165 w 779528"/>
              <a:gd name="connsiteY75" fmla="*/ 89548 h 1111914"/>
              <a:gd name="connsiteX76" fmla="*/ 506631 w 779528"/>
              <a:gd name="connsiteY76" fmla="*/ 89548 h 1111914"/>
              <a:gd name="connsiteX77" fmla="*/ 518300 w 779528"/>
              <a:gd name="connsiteY77" fmla="*/ 101217 h 1111914"/>
              <a:gd name="connsiteX78" fmla="*/ 506631 w 779528"/>
              <a:gd name="connsiteY78" fmla="*/ 112886 h 111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779528" h="1111914">
                <a:moveTo>
                  <a:pt x="0" y="24"/>
                </a:moveTo>
                <a:lnTo>
                  <a:pt x="0" y="1111914"/>
                </a:lnTo>
                <a:lnTo>
                  <a:pt x="691257" y="1111914"/>
                </a:lnTo>
                <a:lnTo>
                  <a:pt x="694819" y="962295"/>
                </a:lnTo>
                <a:lnTo>
                  <a:pt x="696496" y="892427"/>
                </a:lnTo>
                <a:cubicBezTo>
                  <a:pt x="696569" y="889424"/>
                  <a:pt x="696909" y="886507"/>
                  <a:pt x="697481" y="883663"/>
                </a:cubicBezTo>
                <a:cubicBezTo>
                  <a:pt x="698806" y="877050"/>
                  <a:pt x="701419" y="870912"/>
                  <a:pt x="705066" y="865515"/>
                </a:cubicBezTo>
                <a:cubicBezTo>
                  <a:pt x="706913" y="862768"/>
                  <a:pt x="709028" y="860215"/>
                  <a:pt x="711362" y="857894"/>
                </a:cubicBezTo>
                <a:cubicBezTo>
                  <a:pt x="711386" y="857869"/>
                  <a:pt x="711411" y="857845"/>
                  <a:pt x="711435" y="857821"/>
                </a:cubicBezTo>
                <a:lnTo>
                  <a:pt x="711508" y="857748"/>
                </a:lnTo>
                <a:cubicBezTo>
                  <a:pt x="716868" y="852472"/>
                  <a:pt x="723396" y="848388"/>
                  <a:pt x="730665" y="845921"/>
                </a:cubicBezTo>
                <a:lnTo>
                  <a:pt x="730665" y="753371"/>
                </a:lnTo>
                <a:cubicBezTo>
                  <a:pt x="663628" y="743549"/>
                  <a:pt x="603095" y="713805"/>
                  <a:pt x="555216" y="670350"/>
                </a:cubicBezTo>
                <a:cubicBezTo>
                  <a:pt x="538624" y="655290"/>
                  <a:pt x="523539" y="638576"/>
                  <a:pt x="510253" y="620477"/>
                </a:cubicBezTo>
                <a:lnTo>
                  <a:pt x="224009" y="620477"/>
                </a:lnTo>
                <a:cubicBezTo>
                  <a:pt x="217567" y="620477"/>
                  <a:pt x="212340" y="615263"/>
                  <a:pt x="212340" y="608820"/>
                </a:cubicBezTo>
                <a:cubicBezTo>
                  <a:pt x="212340" y="602378"/>
                  <a:pt x="217555" y="597151"/>
                  <a:pt x="224009" y="597151"/>
                </a:cubicBezTo>
                <a:lnTo>
                  <a:pt x="494585" y="597151"/>
                </a:lnTo>
                <a:cubicBezTo>
                  <a:pt x="479768" y="572950"/>
                  <a:pt x="467941" y="546719"/>
                  <a:pt x="459639" y="518956"/>
                </a:cubicBezTo>
                <a:lnTo>
                  <a:pt x="84418" y="518956"/>
                </a:lnTo>
                <a:cubicBezTo>
                  <a:pt x="77976" y="518956"/>
                  <a:pt x="72749" y="513730"/>
                  <a:pt x="72749" y="507287"/>
                </a:cubicBezTo>
                <a:cubicBezTo>
                  <a:pt x="72749" y="500845"/>
                  <a:pt x="77964" y="495631"/>
                  <a:pt x="84418" y="495631"/>
                </a:cubicBezTo>
                <a:lnTo>
                  <a:pt x="453561" y="495631"/>
                </a:lnTo>
                <a:cubicBezTo>
                  <a:pt x="452637" y="491522"/>
                  <a:pt x="451823" y="487389"/>
                  <a:pt x="451069" y="483220"/>
                </a:cubicBezTo>
                <a:cubicBezTo>
                  <a:pt x="448298" y="468050"/>
                  <a:pt x="446548" y="452540"/>
                  <a:pt x="445916" y="436738"/>
                </a:cubicBezTo>
                <a:cubicBezTo>
                  <a:pt x="445733" y="432192"/>
                  <a:pt x="445612" y="427634"/>
                  <a:pt x="445612" y="423039"/>
                </a:cubicBezTo>
                <a:cubicBezTo>
                  <a:pt x="445612" y="421168"/>
                  <a:pt x="445660" y="419296"/>
                  <a:pt x="445685" y="417436"/>
                </a:cubicBezTo>
                <a:lnTo>
                  <a:pt x="84418" y="417436"/>
                </a:lnTo>
                <a:cubicBezTo>
                  <a:pt x="77976" y="417436"/>
                  <a:pt x="72749" y="412221"/>
                  <a:pt x="72749" y="405767"/>
                </a:cubicBezTo>
                <a:cubicBezTo>
                  <a:pt x="72749" y="399312"/>
                  <a:pt x="77964" y="394098"/>
                  <a:pt x="84418" y="394098"/>
                </a:cubicBezTo>
                <a:lnTo>
                  <a:pt x="446876" y="394098"/>
                </a:lnTo>
                <a:cubicBezTo>
                  <a:pt x="448809" y="371683"/>
                  <a:pt x="452941" y="349901"/>
                  <a:pt x="459068" y="328958"/>
                </a:cubicBezTo>
                <a:cubicBezTo>
                  <a:pt x="460356" y="324570"/>
                  <a:pt x="461717" y="320230"/>
                  <a:pt x="463176" y="315915"/>
                </a:cubicBezTo>
                <a:lnTo>
                  <a:pt x="121334" y="315915"/>
                </a:lnTo>
                <a:cubicBezTo>
                  <a:pt x="114891" y="315915"/>
                  <a:pt x="109665" y="310688"/>
                  <a:pt x="109665" y="304246"/>
                </a:cubicBezTo>
                <a:cubicBezTo>
                  <a:pt x="109665" y="297804"/>
                  <a:pt x="114879" y="292577"/>
                  <a:pt x="121334" y="292577"/>
                </a:cubicBezTo>
                <a:lnTo>
                  <a:pt x="472074" y="292577"/>
                </a:lnTo>
                <a:cubicBezTo>
                  <a:pt x="478078" y="278465"/>
                  <a:pt x="485019" y="264851"/>
                  <a:pt x="492823" y="251808"/>
                </a:cubicBezTo>
                <a:cubicBezTo>
                  <a:pt x="492835" y="251796"/>
                  <a:pt x="492835" y="251772"/>
                  <a:pt x="492847" y="251748"/>
                </a:cubicBezTo>
                <a:cubicBezTo>
                  <a:pt x="493212" y="251164"/>
                  <a:pt x="493576" y="250556"/>
                  <a:pt x="493941" y="249973"/>
                </a:cubicBezTo>
                <a:cubicBezTo>
                  <a:pt x="501489" y="237550"/>
                  <a:pt x="509791" y="225675"/>
                  <a:pt x="518847" y="214382"/>
                </a:cubicBezTo>
                <a:lnTo>
                  <a:pt x="84418" y="214382"/>
                </a:lnTo>
                <a:cubicBezTo>
                  <a:pt x="77976" y="214382"/>
                  <a:pt x="72749" y="209155"/>
                  <a:pt x="72749" y="202725"/>
                </a:cubicBezTo>
                <a:cubicBezTo>
                  <a:pt x="72749" y="196295"/>
                  <a:pt x="77964" y="191056"/>
                  <a:pt x="84418" y="191056"/>
                </a:cubicBezTo>
                <a:lnTo>
                  <a:pt x="539389" y="191056"/>
                </a:lnTo>
                <a:cubicBezTo>
                  <a:pt x="551666" y="178354"/>
                  <a:pt x="564940" y="166612"/>
                  <a:pt x="579101" y="155976"/>
                </a:cubicBezTo>
                <a:cubicBezTo>
                  <a:pt x="593249" y="145340"/>
                  <a:pt x="608285" y="135799"/>
                  <a:pt x="624039" y="127484"/>
                </a:cubicBezTo>
                <a:cubicBezTo>
                  <a:pt x="624172" y="127411"/>
                  <a:pt x="624306" y="127326"/>
                  <a:pt x="624440" y="127266"/>
                </a:cubicBezTo>
                <a:cubicBezTo>
                  <a:pt x="624622" y="127180"/>
                  <a:pt x="624780" y="127083"/>
                  <a:pt x="624950" y="126998"/>
                </a:cubicBezTo>
                <a:cubicBezTo>
                  <a:pt x="671152" y="102821"/>
                  <a:pt x="723724" y="89134"/>
                  <a:pt x="779492" y="89134"/>
                </a:cubicBezTo>
                <a:lnTo>
                  <a:pt x="779529" y="89134"/>
                </a:lnTo>
                <a:lnTo>
                  <a:pt x="779529" y="0"/>
                </a:lnTo>
                <a:lnTo>
                  <a:pt x="0" y="0"/>
                </a:lnTo>
                <a:close/>
                <a:moveTo>
                  <a:pt x="652263" y="973843"/>
                </a:moveTo>
                <a:lnTo>
                  <a:pt x="499994" y="973843"/>
                </a:lnTo>
                <a:cubicBezTo>
                  <a:pt x="493552" y="973843"/>
                  <a:pt x="488325" y="968628"/>
                  <a:pt x="488325" y="962174"/>
                </a:cubicBezTo>
                <a:cubicBezTo>
                  <a:pt x="488325" y="955719"/>
                  <a:pt x="493540" y="950517"/>
                  <a:pt x="499994" y="950517"/>
                </a:cubicBezTo>
                <a:lnTo>
                  <a:pt x="652263" y="950517"/>
                </a:lnTo>
                <a:cubicBezTo>
                  <a:pt x="658706" y="950517"/>
                  <a:pt x="663932" y="955731"/>
                  <a:pt x="663932" y="962174"/>
                </a:cubicBezTo>
                <a:cubicBezTo>
                  <a:pt x="663932" y="968616"/>
                  <a:pt x="658718" y="973843"/>
                  <a:pt x="652263" y="973843"/>
                </a:cubicBezTo>
                <a:close/>
                <a:moveTo>
                  <a:pt x="383097" y="786713"/>
                </a:moveTo>
                <a:lnTo>
                  <a:pt x="655351" y="786713"/>
                </a:lnTo>
                <a:cubicBezTo>
                  <a:pt x="661793" y="786713"/>
                  <a:pt x="667020" y="791927"/>
                  <a:pt x="667020" y="798382"/>
                </a:cubicBezTo>
                <a:cubicBezTo>
                  <a:pt x="667020" y="804836"/>
                  <a:pt x="661793" y="810051"/>
                  <a:pt x="655351" y="810051"/>
                </a:cubicBezTo>
                <a:lnTo>
                  <a:pt x="383097" y="810051"/>
                </a:lnTo>
                <a:cubicBezTo>
                  <a:pt x="376667" y="810051"/>
                  <a:pt x="371428" y="804812"/>
                  <a:pt x="371428" y="798382"/>
                </a:cubicBezTo>
                <a:cubicBezTo>
                  <a:pt x="371428" y="791951"/>
                  <a:pt x="376667" y="786713"/>
                  <a:pt x="383097" y="786713"/>
                </a:cubicBezTo>
                <a:close/>
                <a:moveTo>
                  <a:pt x="182086" y="747876"/>
                </a:moveTo>
                <a:cubicBezTo>
                  <a:pt x="255102" y="747876"/>
                  <a:pt x="314493" y="807279"/>
                  <a:pt x="314493" y="880296"/>
                </a:cubicBezTo>
                <a:cubicBezTo>
                  <a:pt x="314493" y="953312"/>
                  <a:pt x="255102" y="1012703"/>
                  <a:pt x="182086" y="1012703"/>
                </a:cubicBezTo>
                <a:cubicBezTo>
                  <a:pt x="109069" y="1012703"/>
                  <a:pt x="49679" y="953300"/>
                  <a:pt x="49679" y="880296"/>
                </a:cubicBezTo>
                <a:cubicBezTo>
                  <a:pt x="49679" y="807291"/>
                  <a:pt x="109069" y="747876"/>
                  <a:pt x="182086" y="747876"/>
                </a:cubicBezTo>
                <a:close/>
                <a:moveTo>
                  <a:pt x="506631" y="112886"/>
                </a:moveTo>
                <a:lnTo>
                  <a:pt x="195165" y="112886"/>
                </a:lnTo>
                <a:cubicBezTo>
                  <a:pt x="188735" y="112886"/>
                  <a:pt x="183496" y="107659"/>
                  <a:pt x="183496" y="101217"/>
                </a:cubicBezTo>
                <a:cubicBezTo>
                  <a:pt x="183496" y="94775"/>
                  <a:pt x="188735" y="89548"/>
                  <a:pt x="195165" y="89548"/>
                </a:cubicBezTo>
                <a:lnTo>
                  <a:pt x="506631" y="89548"/>
                </a:lnTo>
                <a:cubicBezTo>
                  <a:pt x="513073" y="89548"/>
                  <a:pt x="518300" y="94787"/>
                  <a:pt x="518300" y="101217"/>
                </a:cubicBezTo>
                <a:cubicBezTo>
                  <a:pt x="518300" y="107647"/>
                  <a:pt x="513073" y="112886"/>
                  <a:pt x="506631" y="112886"/>
                </a:cubicBezTo>
                <a:close/>
              </a:path>
            </a:pathLst>
          </a:custGeom>
          <a:solidFill>
            <a:srgbClr val="00D63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 name="Freeform: Shape 19">
            <a:extLst>
              <a:ext uri="{FF2B5EF4-FFF2-40B4-BE49-F238E27FC236}">
                <a16:creationId xmlns:a16="http://schemas.microsoft.com/office/drawing/2014/main" id="{D5397121-1D2E-D5D9-0C51-5B13B45B8056}"/>
              </a:ext>
            </a:extLst>
          </p:cNvPr>
          <p:cNvSpPr/>
          <p:nvPr/>
        </p:nvSpPr>
        <p:spPr>
          <a:xfrm>
            <a:off x="11410167" y="1994110"/>
            <a:ext cx="246085" cy="239697"/>
          </a:xfrm>
          <a:custGeom>
            <a:avLst/>
            <a:gdLst>
              <a:gd name="connsiteX0" fmla="*/ 488751 w 488799"/>
              <a:gd name="connsiteY0" fmla="*/ 238510 h 488823"/>
              <a:gd name="connsiteX1" fmla="*/ 488641 w 488799"/>
              <a:gd name="connsiteY1" fmla="*/ 234925 h 488823"/>
              <a:gd name="connsiteX2" fmla="*/ 488556 w 488799"/>
              <a:gd name="connsiteY2" fmla="*/ 232810 h 488823"/>
              <a:gd name="connsiteX3" fmla="*/ 488483 w 488799"/>
              <a:gd name="connsiteY3" fmla="*/ 231375 h 488823"/>
              <a:gd name="connsiteX4" fmla="*/ 488325 w 488799"/>
              <a:gd name="connsiteY4" fmla="*/ 228750 h 488823"/>
              <a:gd name="connsiteX5" fmla="*/ 488301 w 488799"/>
              <a:gd name="connsiteY5" fmla="*/ 228203 h 488823"/>
              <a:gd name="connsiteX6" fmla="*/ 487839 w 488799"/>
              <a:gd name="connsiteY6" fmla="*/ 222393 h 488823"/>
              <a:gd name="connsiteX7" fmla="*/ 487547 w 488799"/>
              <a:gd name="connsiteY7" fmla="*/ 219293 h 488823"/>
              <a:gd name="connsiteX8" fmla="*/ 486830 w 488799"/>
              <a:gd name="connsiteY8" fmla="*/ 213130 h 488823"/>
              <a:gd name="connsiteX9" fmla="*/ 486417 w 488799"/>
              <a:gd name="connsiteY9" fmla="*/ 210055 h 488823"/>
              <a:gd name="connsiteX10" fmla="*/ 485967 w 488799"/>
              <a:gd name="connsiteY10" fmla="*/ 207004 h 488823"/>
              <a:gd name="connsiteX11" fmla="*/ 485505 w 488799"/>
              <a:gd name="connsiteY11" fmla="*/ 204099 h 488823"/>
              <a:gd name="connsiteX12" fmla="*/ 485469 w 488799"/>
              <a:gd name="connsiteY12" fmla="*/ 203844 h 488823"/>
              <a:gd name="connsiteX13" fmla="*/ 484958 w 488799"/>
              <a:gd name="connsiteY13" fmla="*/ 200939 h 488823"/>
              <a:gd name="connsiteX14" fmla="*/ 484399 w 488799"/>
              <a:gd name="connsiteY14" fmla="*/ 197912 h 488823"/>
              <a:gd name="connsiteX15" fmla="*/ 483804 w 488799"/>
              <a:gd name="connsiteY15" fmla="*/ 194910 h 488823"/>
              <a:gd name="connsiteX16" fmla="*/ 483159 w 488799"/>
              <a:gd name="connsiteY16" fmla="*/ 191907 h 488823"/>
              <a:gd name="connsiteX17" fmla="*/ 481786 w 488799"/>
              <a:gd name="connsiteY17" fmla="*/ 185975 h 488823"/>
              <a:gd name="connsiteX18" fmla="*/ 480254 w 488799"/>
              <a:gd name="connsiteY18" fmla="*/ 180092 h 488823"/>
              <a:gd name="connsiteX19" fmla="*/ 479574 w 488799"/>
              <a:gd name="connsiteY19" fmla="*/ 177625 h 488823"/>
              <a:gd name="connsiteX20" fmla="*/ 479282 w 488799"/>
              <a:gd name="connsiteY20" fmla="*/ 176616 h 488823"/>
              <a:gd name="connsiteX21" fmla="*/ 478103 w 488799"/>
              <a:gd name="connsiteY21" fmla="*/ 172678 h 488823"/>
              <a:gd name="connsiteX22" fmla="*/ 477252 w 488799"/>
              <a:gd name="connsiteY22" fmla="*/ 169930 h 488823"/>
              <a:gd name="connsiteX23" fmla="*/ 476292 w 488799"/>
              <a:gd name="connsiteY23" fmla="*/ 167013 h 488823"/>
              <a:gd name="connsiteX24" fmla="*/ 474833 w 488799"/>
              <a:gd name="connsiteY24" fmla="*/ 162783 h 488823"/>
              <a:gd name="connsiteX25" fmla="*/ 473812 w 488799"/>
              <a:gd name="connsiteY25" fmla="*/ 159951 h 488823"/>
              <a:gd name="connsiteX26" fmla="*/ 472766 w 488799"/>
              <a:gd name="connsiteY26" fmla="*/ 157143 h 488823"/>
              <a:gd name="connsiteX27" fmla="*/ 471673 w 488799"/>
              <a:gd name="connsiteY27" fmla="*/ 154347 h 488823"/>
              <a:gd name="connsiteX28" fmla="*/ 470554 w 488799"/>
              <a:gd name="connsiteY28" fmla="*/ 151564 h 488823"/>
              <a:gd name="connsiteX29" fmla="*/ 468245 w 488799"/>
              <a:gd name="connsiteY29" fmla="*/ 146130 h 488823"/>
              <a:gd name="connsiteX30" fmla="*/ 468208 w 488799"/>
              <a:gd name="connsiteY30" fmla="*/ 146045 h 488823"/>
              <a:gd name="connsiteX31" fmla="*/ 466993 w 488799"/>
              <a:gd name="connsiteY31" fmla="*/ 143335 h 488823"/>
              <a:gd name="connsiteX32" fmla="*/ 465741 w 488799"/>
              <a:gd name="connsiteY32" fmla="*/ 140624 h 488823"/>
              <a:gd name="connsiteX33" fmla="*/ 464829 w 488799"/>
              <a:gd name="connsiteY33" fmla="*/ 138740 h 488823"/>
              <a:gd name="connsiteX34" fmla="*/ 462848 w 488799"/>
              <a:gd name="connsiteY34" fmla="*/ 134705 h 488823"/>
              <a:gd name="connsiteX35" fmla="*/ 460392 w 488799"/>
              <a:gd name="connsiteY35" fmla="*/ 129964 h 488823"/>
              <a:gd name="connsiteX36" fmla="*/ 459092 w 488799"/>
              <a:gd name="connsiteY36" fmla="*/ 127533 h 488823"/>
              <a:gd name="connsiteX37" fmla="*/ 456065 w 488799"/>
              <a:gd name="connsiteY37" fmla="*/ 122172 h 488823"/>
              <a:gd name="connsiteX38" fmla="*/ 454728 w 488799"/>
              <a:gd name="connsiteY38" fmla="*/ 119875 h 488823"/>
              <a:gd name="connsiteX39" fmla="*/ 450352 w 488799"/>
              <a:gd name="connsiteY39" fmla="*/ 112776 h 488823"/>
              <a:gd name="connsiteX40" fmla="*/ 448274 w 488799"/>
              <a:gd name="connsiteY40" fmla="*/ 109567 h 488823"/>
              <a:gd name="connsiteX41" fmla="*/ 432399 w 488799"/>
              <a:gd name="connsiteY41" fmla="*/ 88247 h 488823"/>
              <a:gd name="connsiteX42" fmla="*/ 431086 w 488799"/>
              <a:gd name="connsiteY42" fmla="*/ 86679 h 488823"/>
              <a:gd name="connsiteX43" fmla="*/ 429214 w 488799"/>
              <a:gd name="connsiteY43" fmla="*/ 84479 h 488823"/>
              <a:gd name="connsiteX44" fmla="*/ 428594 w 488799"/>
              <a:gd name="connsiteY44" fmla="*/ 83750 h 488823"/>
              <a:gd name="connsiteX45" fmla="*/ 426102 w 488799"/>
              <a:gd name="connsiteY45" fmla="*/ 80942 h 488823"/>
              <a:gd name="connsiteX46" fmla="*/ 420608 w 488799"/>
              <a:gd name="connsiteY46" fmla="*/ 75059 h 488823"/>
              <a:gd name="connsiteX47" fmla="*/ 418554 w 488799"/>
              <a:gd name="connsiteY47" fmla="*/ 72956 h 488823"/>
              <a:gd name="connsiteX48" fmla="*/ 416476 w 488799"/>
              <a:gd name="connsiteY48" fmla="*/ 70865 h 488823"/>
              <a:gd name="connsiteX49" fmla="*/ 414263 w 488799"/>
              <a:gd name="connsiteY49" fmla="*/ 68714 h 488823"/>
              <a:gd name="connsiteX50" fmla="*/ 412051 w 488799"/>
              <a:gd name="connsiteY50" fmla="*/ 66611 h 488823"/>
              <a:gd name="connsiteX51" fmla="*/ 407468 w 488799"/>
              <a:gd name="connsiteY51" fmla="*/ 62393 h 488823"/>
              <a:gd name="connsiteX52" fmla="*/ 405159 w 488799"/>
              <a:gd name="connsiteY52" fmla="*/ 60351 h 488823"/>
              <a:gd name="connsiteX53" fmla="*/ 402825 w 488799"/>
              <a:gd name="connsiteY53" fmla="*/ 58333 h 488823"/>
              <a:gd name="connsiteX54" fmla="*/ 399021 w 488799"/>
              <a:gd name="connsiteY54" fmla="*/ 55173 h 488823"/>
              <a:gd name="connsiteX55" fmla="*/ 396930 w 488799"/>
              <a:gd name="connsiteY55" fmla="*/ 53471 h 488823"/>
              <a:gd name="connsiteX56" fmla="*/ 366068 w 488799"/>
              <a:gd name="connsiteY56" fmla="*/ 32430 h 488823"/>
              <a:gd name="connsiteX57" fmla="*/ 362591 w 488799"/>
              <a:gd name="connsiteY57" fmla="*/ 30461 h 488823"/>
              <a:gd name="connsiteX58" fmla="*/ 359346 w 488799"/>
              <a:gd name="connsiteY58" fmla="*/ 28699 h 488823"/>
              <a:gd name="connsiteX59" fmla="*/ 356587 w 488799"/>
              <a:gd name="connsiteY59" fmla="*/ 27252 h 488823"/>
              <a:gd name="connsiteX60" fmla="*/ 353815 w 488799"/>
              <a:gd name="connsiteY60" fmla="*/ 25830 h 488823"/>
              <a:gd name="connsiteX61" fmla="*/ 345926 w 488799"/>
              <a:gd name="connsiteY61" fmla="*/ 22050 h 488823"/>
              <a:gd name="connsiteX62" fmla="*/ 342499 w 488799"/>
              <a:gd name="connsiteY62" fmla="*/ 20506 h 488823"/>
              <a:gd name="connsiteX63" fmla="*/ 339119 w 488799"/>
              <a:gd name="connsiteY63" fmla="*/ 19059 h 488823"/>
              <a:gd name="connsiteX64" fmla="*/ 336749 w 488799"/>
              <a:gd name="connsiteY64" fmla="*/ 18075 h 488823"/>
              <a:gd name="connsiteX65" fmla="*/ 333808 w 488799"/>
              <a:gd name="connsiteY65" fmla="*/ 16884 h 488823"/>
              <a:gd name="connsiteX66" fmla="*/ 256014 w 488799"/>
              <a:gd name="connsiteY66" fmla="*/ 280 h 488823"/>
              <a:gd name="connsiteX67" fmla="*/ 244430 w 488799"/>
              <a:gd name="connsiteY67" fmla="*/ 0 h 488823"/>
              <a:gd name="connsiteX68" fmla="*/ 240091 w 488799"/>
              <a:gd name="connsiteY68" fmla="*/ 36 h 488823"/>
              <a:gd name="connsiteX69" fmla="*/ 236894 w 488799"/>
              <a:gd name="connsiteY69" fmla="*/ 109 h 488823"/>
              <a:gd name="connsiteX70" fmla="*/ 225480 w 488799"/>
              <a:gd name="connsiteY70" fmla="*/ 717 h 488823"/>
              <a:gd name="connsiteX71" fmla="*/ 223110 w 488799"/>
              <a:gd name="connsiteY71" fmla="*/ 912 h 488823"/>
              <a:gd name="connsiteX72" fmla="*/ 220253 w 488799"/>
              <a:gd name="connsiteY72" fmla="*/ 1179 h 488823"/>
              <a:gd name="connsiteX73" fmla="*/ 216291 w 488799"/>
              <a:gd name="connsiteY73" fmla="*/ 1604 h 488823"/>
              <a:gd name="connsiteX74" fmla="*/ 216157 w 488799"/>
              <a:gd name="connsiteY74" fmla="*/ 1617 h 488823"/>
              <a:gd name="connsiteX75" fmla="*/ 212328 w 488799"/>
              <a:gd name="connsiteY75" fmla="*/ 2091 h 488823"/>
              <a:gd name="connsiteX76" fmla="*/ 208584 w 488799"/>
              <a:gd name="connsiteY76" fmla="*/ 2613 h 488823"/>
              <a:gd name="connsiteX77" fmla="*/ 208268 w 488799"/>
              <a:gd name="connsiteY77" fmla="*/ 2662 h 488823"/>
              <a:gd name="connsiteX78" fmla="*/ 204998 w 488799"/>
              <a:gd name="connsiteY78" fmla="*/ 3160 h 488823"/>
              <a:gd name="connsiteX79" fmla="*/ 203880 w 488799"/>
              <a:gd name="connsiteY79" fmla="*/ 3343 h 488823"/>
              <a:gd name="connsiteX80" fmla="*/ 200610 w 488799"/>
              <a:gd name="connsiteY80" fmla="*/ 3914 h 488823"/>
              <a:gd name="connsiteX81" fmla="*/ 197815 w 488799"/>
              <a:gd name="connsiteY81" fmla="*/ 4437 h 488823"/>
              <a:gd name="connsiteX82" fmla="*/ 195007 w 488799"/>
              <a:gd name="connsiteY82" fmla="*/ 4996 h 488823"/>
              <a:gd name="connsiteX83" fmla="*/ 194618 w 488799"/>
              <a:gd name="connsiteY83" fmla="*/ 5069 h 488823"/>
              <a:gd name="connsiteX84" fmla="*/ 191859 w 488799"/>
              <a:gd name="connsiteY84" fmla="*/ 5652 h 488823"/>
              <a:gd name="connsiteX85" fmla="*/ 191628 w 488799"/>
              <a:gd name="connsiteY85" fmla="*/ 5701 h 488823"/>
              <a:gd name="connsiteX86" fmla="*/ 188832 w 488799"/>
              <a:gd name="connsiteY86" fmla="*/ 6333 h 488823"/>
              <a:gd name="connsiteX87" fmla="*/ 187884 w 488799"/>
              <a:gd name="connsiteY87" fmla="*/ 6552 h 488823"/>
              <a:gd name="connsiteX88" fmla="*/ 185270 w 488799"/>
              <a:gd name="connsiteY88" fmla="*/ 7184 h 488823"/>
              <a:gd name="connsiteX89" fmla="*/ 181599 w 488799"/>
              <a:gd name="connsiteY89" fmla="*/ 8132 h 488823"/>
              <a:gd name="connsiteX90" fmla="*/ 181429 w 488799"/>
              <a:gd name="connsiteY90" fmla="*/ 8180 h 488823"/>
              <a:gd name="connsiteX91" fmla="*/ 178354 w 488799"/>
              <a:gd name="connsiteY91" fmla="*/ 9007 h 488823"/>
              <a:gd name="connsiteX92" fmla="*/ 173164 w 488799"/>
              <a:gd name="connsiteY92" fmla="*/ 10526 h 488823"/>
              <a:gd name="connsiteX93" fmla="*/ 170368 w 488799"/>
              <a:gd name="connsiteY93" fmla="*/ 11389 h 488823"/>
              <a:gd name="connsiteX94" fmla="*/ 168229 w 488799"/>
              <a:gd name="connsiteY94" fmla="*/ 12094 h 488823"/>
              <a:gd name="connsiteX95" fmla="*/ 165652 w 488799"/>
              <a:gd name="connsiteY95" fmla="*/ 12945 h 488823"/>
              <a:gd name="connsiteX96" fmla="*/ 163002 w 488799"/>
              <a:gd name="connsiteY96" fmla="*/ 13869 h 488823"/>
              <a:gd name="connsiteX97" fmla="*/ 155794 w 488799"/>
              <a:gd name="connsiteY97" fmla="*/ 16555 h 488823"/>
              <a:gd name="connsiteX98" fmla="*/ 152889 w 488799"/>
              <a:gd name="connsiteY98" fmla="*/ 17710 h 488823"/>
              <a:gd name="connsiteX99" fmla="*/ 148671 w 488799"/>
              <a:gd name="connsiteY99" fmla="*/ 19461 h 488823"/>
              <a:gd name="connsiteX100" fmla="*/ 145158 w 488799"/>
              <a:gd name="connsiteY100" fmla="*/ 20992 h 488823"/>
              <a:gd name="connsiteX101" fmla="*/ 142046 w 488799"/>
              <a:gd name="connsiteY101" fmla="*/ 22414 h 488823"/>
              <a:gd name="connsiteX102" fmla="*/ 137500 w 488799"/>
              <a:gd name="connsiteY102" fmla="*/ 24566 h 488823"/>
              <a:gd name="connsiteX103" fmla="*/ 131398 w 488799"/>
              <a:gd name="connsiteY103" fmla="*/ 27641 h 488823"/>
              <a:gd name="connsiteX104" fmla="*/ 128031 w 488799"/>
              <a:gd name="connsiteY104" fmla="*/ 29440 h 488823"/>
              <a:gd name="connsiteX105" fmla="*/ 124701 w 488799"/>
              <a:gd name="connsiteY105" fmla="*/ 31275 h 488823"/>
              <a:gd name="connsiteX106" fmla="*/ 119170 w 488799"/>
              <a:gd name="connsiteY106" fmla="*/ 34484 h 488823"/>
              <a:gd name="connsiteX107" fmla="*/ 117371 w 488799"/>
              <a:gd name="connsiteY107" fmla="*/ 35578 h 488823"/>
              <a:gd name="connsiteX108" fmla="*/ 114891 w 488799"/>
              <a:gd name="connsiteY108" fmla="*/ 37110 h 488823"/>
              <a:gd name="connsiteX109" fmla="*/ 111877 w 488799"/>
              <a:gd name="connsiteY109" fmla="*/ 39006 h 488823"/>
              <a:gd name="connsiteX110" fmla="*/ 95771 w 488799"/>
              <a:gd name="connsiteY110" fmla="*/ 50384 h 488823"/>
              <a:gd name="connsiteX111" fmla="*/ 93693 w 488799"/>
              <a:gd name="connsiteY111" fmla="*/ 51988 h 488823"/>
              <a:gd name="connsiteX112" fmla="*/ 90265 w 488799"/>
              <a:gd name="connsiteY112" fmla="*/ 54747 h 488823"/>
              <a:gd name="connsiteX113" fmla="*/ 87360 w 488799"/>
              <a:gd name="connsiteY113" fmla="*/ 57154 h 488823"/>
              <a:gd name="connsiteX114" fmla="*/ 81379 w 488799"/>
              <a:gd name="connsiteY114" fmla="*/ 62344 h 488823"/>
              <a:gd name="connsiteX115" fmla="*/ 78851 w 488799"/>
              <a:gd name="connsiteY115" fmla="*/ 64642 h 488823"/>
              <a:gd name="connsiteX116" fmla="*/ 76931 w 488799"/>
              <a:gd name="connsiteY116" fmla="*/ 66428 h 488823"/>
              <a:gd name="connsiteX117" fmla="*/ 75436 w 488799"/>
              <a:gd name="connsiteY117" fmla="*/ 67838 h 488823"/>
              <a:gd name="connsiteX118" fmla="*/ 70671 w 488799"/>
              <a:gd name="connsiteY118" fmla="*/ 72518 h 488823"/>
              <a:gd name="connsiteX119" fmla="*/ 68045 w 488799"/>
              <a:gd name="connsiteY119" fmla="*/ 75229 h 488823"/>
              <a:gd name="connsiteX120" fmla="*/ 65456 w 488799"/>
              <a:gd name="connsiteY120" fmla="*/ 77976 h 488823"/>
              <a:gd name="connsiteX121" fmla="*/ 62891 w 488799"/>
              <a:gd name="connsiteY121" fmla="*/ 80772 h 488823"/>
              <a:gd name="connsiteX122" fmla="*/ 55501 w 488799"/>
              <a:gd name="connsiteY122" fmla="*/ 89365 h 488823"/>
              <a:gd name="connsiteX123" fmla="*/ 53118 w 488799"/>
              <a:gd name="connsiteY123" fmla="*/ 92319 h 488823"/>
              <a:gd name="connsiteX124" fmla="*/ 50153 w 488799"/>
              <a:gd name="connsiteY124" fmla="*/ 96124 h 488823"/>
              <a:gd name="connsiteX125" fmla="*/ 48487 w 488799"/>
              <a:gd name="connsiteY125" fmla="*/ 98324 h 488823"/>
              <a:gd name="connsiteX126" fmla="*/ 46239 w 488799"/>
              <a:gd name="connsiteY126" fmla="*/ 101375 h 488823"/>
              <a:gd name="connsiteX127" fmla="*/ 44038 w 488799"/>
              <a:gd name="connsiteY127" fmla="*/ 104462 h 488823"/>
              <a:gd name="connsiteX128" fmla="*/ 41984 w 488799"/>
              <a:gd name="connsiteY128" fmla="*/ 107440 h 488823"/>
              <a:gd name="connsiteX129" fmla="*/ 37730 w 488799"/>
              <a:gd name="connsiteY129" fmla="*/ 113931 h 488823"/>
              <a:gd name="connsiteX130" fmla="*/ 35967 w 488799"/>
              <a:gd name="connsiteY130" fmla="*/ 116763 h 488823"/>
              <a:gd name="connsiteX131" fmla="*/ 34497 w 488799"/>
              <a:gd name="connsiteY131" fmla="*/ 119194 h 488823"/>
              <a:gd name="connsiteX132" fmla="*/ 32552 w 488799"/>
              <a:gd name="connsiteY132" fmla="*/ 122501 h 488823"/>
              <a:gd name="connsiteX133" fmla="*/ 30789 w 488799"/>
              <a:gd name="connsiteY133" fmla="*/ 125600 h 488823"/>
              <a:gd name="connsiteX134" fmla="*/ 29294 w 488799"/>
              <a:gd name="connsiteY134" fmla="*/ 128335 h 488823"/>
              <a:gd name="connsiteX135" fmla="*/ 27726 w 488799"/>
              <a:gd name="connsiteY135" fmla="*/ 131289 h 488823"/>
              <a:gd name="connsiteX136" fmla="*/ 26195 w 488799"/>
              <a:gd name="connsiteY136" fmla="*/ 134279 h 488823"/>
              <a:gd name="connsiteX137" fmla="*/ 24699 w 488799"/>
              <a:gd name="connsiteY137" fmla="*/ 137281 h 488823"/>
              <a:gd name="connsiteX138" fmla="*/ 20457 w 488799"/>
              <a:gd name="connsiteY138" fmla="*/ 146422 h 488823"/>
              <a:gd name="connsiteX139" fmla="*/ 18512 w 488799"/>
              <a:gd name="connsiteY139" fmla="*/ 150968 h 488823"/>
              <a:gd name="connsiteX140" fmla="*/ 18233 w 488799"/>
              <a:gd name="connsiteY140" fmla="*/ 151661 h 488823"/>
              <a:gd name="connsiteX141" fmla="*/ 14805 w 488799"/>
              <a:gd name="connsiteY141" fmla="*/ 160510 h 488823"/>
              <a:gd name="connsiteX142" fmla="*/ 13115 w 488799"/>
              <a:gd name="connsiteY142" fmla="*/ 165299 h 488823"/>
              <a:gd name="connsiteX143" fmla="*/ 11511 w 488799"/>
              <a:gd name="connsiteY143" fmla="*/ 170137 h 488823"/>
              <a:gd name="connsiteX144" fmla="*/ 10016 w 488799"/>
              <a:gd name="connsiteY144" fmla="*/ 175011 h 488823"/>
              <a:gd name="connsiteX145" fmla="*/ 9299 w 488799"/>
              <a:gd name="connsiteY145" fmla="*/ 177467 h 488823"/>
              <a:gd name="connsiteX146" fmla="*/ 8618 w 488799"/>
              <a:gd name="connsiteY146" fmla="*/ 179946 h 488823"/>
              <a:gd name="connsiteX147" fmla="*/ 7950 w 488799"/>
              <a:gd name="connsiteY147" fmla="*/ 182426 h 488823"/>
              <a:gd name="connsiteX148" fmla="*/ 7317 w 488799"/>
              <a:gd name="connsiteY148" fmla="*/ 184906 h 488823"/>
              <a:gd name="connsiteX149" fmla="*/ 6710 w 488799"/>
              <a:gd name="connsiteY149" fmla="*/ 187410 h 488823"/>
              <a:gd name="connsiteX150" fmla="*/ 4522 w 488799"/>
              <a:gd name="connsiteY150" fmla="*/ 197499 h 488823"/>
              <a:gd name="connsiteX151" fmla="*/ 3586 w 488799"/>
              <a:gd name="connsiteY151" fmla="*/ 202592 h 488823"/>
              <a:gd name="connsiteX152" fmla="*/ 2759 w 488799"/>
              <a:gd name="connsiteY152" fmla="*/ 207733 h 488823"/>
              <a:gd name="connsiteX153" fmla="*/ 2030 w 488799"/>
              <a:gd name="connsiteY153" fmla="*/ 212899 h 488823"/>
              <a:gd name="connsiteX154" fmla="*/ 1714 w 488799"/>
              <a:gd name="connsiteY154" fmla="*/ 215488 h 488823"/>
              <a:gd name="connsiteX155" fmla="*/ 1191 w 488799"/>
              <a:gd name="connsiteY155" fmla="*/ 220399 h 488823"/>
              <a:gd name="connsiteX156" fmla="*/ 851 w 488799"/>
              <a:gd name="connsiteY156" fmla="*/ 224167 h 488823"/>
              <a:gd name="connsiteX157" fmla="*/ 438 w 488799"/>
              <a:gd name="connsiteY157" fmla="*/ 230002 h 488823"/>
              <a:gd name="connsiteX158" fmla="*/ 280 w 488799"/>
              <a:gd name="connsiteY158" fmla="*/ 232943 h 488823"/>
              <a:gd name="connsiteX159" fmla="*/ 73 w 488799"/>
              <a:gd name="connsiteY159" fmla="*/ 238826 h 488823"/>
              <a:gd name="connsiteX160" fmla="*/ 12 w 488799"/>
              <a:gd name="connsiteY160" fmla="*/ 241622 h 488823"/>
              <a:gd name="connsiteX161" fmla="*/ 0 w 488799"/>
              <a:gd name="connsiteY161" fmla="*/ 244430 h 488823"/>
              <a:gd name="connsiteX162" fmla="*/ 49 w 488799"/>
              <a:gd name="connsiteY162" fmla="*/ 249158 h 488823"/>
              <a:gd name="connsiteX163" fmla="*/ 158 w 488799"/>
              <a:gd name="connsiteY163" fmla="*/ 253340 h 488823"/>
              <a:gd name="connsiteX164" fmla="*/ 219 w 488799"/>
              <a:gd name="connsiteY164" fmla="*/ 254969 h 488823"/>
              <a:gd name="connsiteX165" fmla="*/ 292 w 488799"/>
              <a:gd name="connsiteY165" fmla="*/ 256707 h 488823"/>
              <a:gd name="connsiteX166" fmla="*/ 450 w 488799"/>
              <a:gd name="connsiteY166" fmla="*/ 259466 h 488823"/>
              <a:gd name="connsiteX167" fmla="*/ 462 w 488799"/>
              <a:gd name="connsiteY167" fmla="*/ 259721 h 488823"/>
              <a:gd name="connsiteX168" fmla="*/ 1094 w 488799"/>
              <a:gd name="connsiteY168" fmla="*/ 267853 h 488823"/>
              <a:gd name="connsiteX169" fmla="*/ 1459 w 488799"/>
              <a:gd name="connsiteY169" fmla="*/ 271415 h 488823"/>
              <a:gd name="connsiteX170" fmla="*/ 1750 w 488799"/>
              <a:gd name="connsiteY170" fmla="*/ 273992 h 488823"/>
              <a:gd name="connsiteX171" fmla="*/ 2188 w 488799"/>
              <a:gd name="connsiteY171" fmla="*/ 277444 h 488823"/>
              <a:gd name="connsiteX172" fmla="*/ 2674 w 488799"/>
              <a:gd name="connsiteY172" fmla="*/ 280835 h 488823"/>
              <a:gd name="connsiteX173" fmla="*/ 3525 w 488799"/>
              <a:gd name="connsiteY173" fmla="*/ 286135 h 488823"/>
              <a:gd name="connsiteX174" fmla="*/ 4339 w 488799"/>
              <a:gd name="connsiteY174" fmla="*/ 290644 h 488823"/>
              <a:gd name="connsiteX175" fmla="*/ 5166 w 488799"/>
              <a:gd name="connsiteY175" fmla="*/ 294777 h 488823"/>
              <a:gd name="connsiteX176" fmla="*/ 5324 w 488799"/>
              <a:gd name="connsiteY176" fmla="*/ 295531 h 488823"/>
              <a:gd name="connsiteX177" fmla="*/ 6090 w 488799"/>
              <a:gd name="connsiteY177" fmla="*/ 299007 h 488823"/>
              <a:gd name="connsiteX178" fmla="*/ 7281 w 488799"/>
              <a:gd name="connsiteY178" fmla="*/ 303991 h 488823"/>
              <a:gd name="connsiteX179" fmla="*/ 8436 w 488799"/>
              <a:gd name="connsiteY179" fmla="*/ 308367 h 488823"/>
              <a:gd name="connsiteX180" fmla="*/ 9651 w 488799"/>
              <a:gd name="connsiteY180" fmla="*/ 312718 h 488823"/>
              <a:gd name="connsiteX181" fmla="*/ 10952 w 488799"/>
              <a:gd name="connsiteY181" fmla="*/ 317033 h 488823"/>
              <a:gd name="connsiteX182" fmla="*/ 11900 w 488799"/>
              <a:gd name="connsiteY182" fmla="*/ 320011 h 488823"/>
              <a:gd name="connsiteX183" fmla="*/ 12885 w 488799"/>
              <a:gd name="connsiteY183" fmla="*/ 322977 h 488823"/>
              <a:gd name="connsiteX184" fmla="*/ 13906 w 488799"/>
              <a:gd name="connsiteY184" fmla="*/ 325919 h 488823"/>
              <a:gd name="connsiteX185" fmla="*/ 14963 w 488799"/>
              <a:gd name="connsiteY185" fmla="*/ 328836 h 488823"/>
              <a:gd name="connsiteX186" fmla="*/ 16045 w 488799"/>
              <a:gd name="connsiteY186" fmla="*/ 331741 h 488823"/>
              <a:gd name="connsiteX187" fmla="*/ 17212 w 488799"/>
              <a:gd name="connsiteY187" fmla="*/ 334707 h 488823"/>
              <a:gd name="connsiteX188" fmla="*/ 18306 w 488799"/>
              <a:gd name="connsiteY188" fmla="*/ 337430 h 488823"/>
              <a:gd name="connsiteX189" fmla="*/ 18440 w 488799"/>
              <a:gd name="connsiteY189" fmla="*/ 337734 h 488823"/>
              <a:gd name="connsiteX190" fmla="*/ 19546 w 488799"/>
              <a:gd name="connsiteY190" fmla="*/ 340359 h 488823"/>
              <a:gd name="connsiteX191" fmla="*/ 21977 w 488799"/>
              <a:gd name="connsiteY191" fmla="*/ 345853 h 488823"/>
              <a:gd name="connsiteX192" fmla="*/ 24529 w 488799"/>
              <a:gd name="connsiteY192" fmla="*/ 351275 h 488823"/>
              <a:gd name="connsiteX193" fmla="*/ 25854 w 488799"/>
              <a:gd name="connsiteY193" fmla="*/ 353973 h 488823"/>
              <a:gd name="connsiteX194" fmla="*/ 27216 w 488799"/>
              <a:gd name="connsiteY194" fmla="*/ 356623 h 488823"/>
              <a:gd name="connsiteX195" fmla="*/ 28443 w 488799"/>
              <a:gd name="connsiteY195" fmla="*/ 358957 h 488823"/>
              <a:gd name="connsiteX196" fmla="*/ 30023 w 488799"/>
              <a:gd name="connsiteY196" fmla="*/ 361911 h 488823"/>
              <a:gd name="connsiteX197" fmla="*/ 32406 w 488799"/>
              <a:gd name="connsiteY197" fmla="*/ 366141 h 488823"/>
              <a:gd name="connsiteX198" fmla="*/ 33658 w 488799"/>
              <a:gd name="connsiteY198" fmla="*/ 368292 h 488823"/>
              <a:gd name="connsiteX199" fmla="*/ 35578 w 488799"/>
              <a:gd name="connsiteY199" fmla="*/ 371489 h 488823"/>
              <a:gd name="connsiteX200" fmla="*/ 38289 w 488799"/>
              <a:gd name="connsiteY200" fmla="*/ 375828 h 488823"/>
              <a:gd name="connsiteX201" fmla="*/ 40842 w 488799"/>
              <a:gd name="connsiteY201" fmla="*/ 379742 h 488823"/>
              <a:gd name="connsiteX202" fmla="*/ 42385 w 488799"/>
              <a:gd name="connsiteY202" fmla="*/ 382028 h 488823"/>
              <a:gd name="connsiteX203" fmla="*/ 42823 w 488799"/>
              <a:gd name="connsiteY203" fmla="*/ 382660 h 488823"/>
              <a:gd name="connsiteX204" fmla="*/ 45145 w 488799"/>
              <a:gd name="connsiteY204" fmla="*/ 385978 h 488823"/>
              <a:gd name="connsiteX205" fmla="*/ 48463 w 488799"/>
              <a:gd name="connsiteY205" fmla="*/ 390536 h 488823"/>
              <a:gd name="connsiteX206" fmla="*/ 50469 w 488799"/>
              <a:gd name="connsiteY206" fmla="*/ 393162 h 488823"/>
              <a:gd name="connsiteX207" fmla="*/ 51648 w 488799"/>
              <a:gd name="connsiteY207" fmla="*/ 394705 h 488823"/>
              <a:gd name="connsiteX208" fmla="*/ 53094 w 488799"/>
              <a:gd name="connsiteY208" fmla="*/ 396517 h 488823"/>
              <a:gd name="connsiteX209" fmla="*/ 56850 w 488799"/>
              <a:gd name="connsiteY209" fmla="*/ 401123 h 488823"/>
              <a:gd name="connsiteX210" fmla="*/ 58771 w 488799"/>
              <a:gd name="connsiteY210" fmla="*/ 403384 h 488823"/>
              <a:gd name="connsiteX211" fmla="*/ 61651 w 488799"/>
              <a:gd name="connsiteY211" fmla="*/ 406691 h 488823"/>
              <a:gd name="connsiteX212" fmla="*/ 63669 w 488799"/>
              <a:gd name="connsiteY212" fmla="*/ 408939 h 488823"/>
              <a:gd name="connsiteX213" fmla="*/ 65954 w 488799"/>
              <a:gd name="connsiteY213" fmla="*/ 411407 h 488823"/>
              <a:gd name="connsiteX214" fmla="*/ 68945 w 488799"/>
              <a:gd name="connsiteY214" fmla="*/ 414543 h 488823"/>
              <a:gd name="connsiteX215" fmla="*/ 70817 w 488799"/>
              <a:gd name="connsiteY215" fmla="*/ 416463 h 488823"/>
              <a:gd name="connsiteX216" fmla="*/ 72907 w 488799"/>
              <a:gd name="connsiteY216" fmla="*/ 418554 h 488823"/>
              <a:gd name="connsiteX217" fmla="*/ 76457 w 488799"/>
              <a:gd name="connsiteY217" fmla="*/ 421970 h 488823"/>
              <a:gd name="connsiteX218" fmla="*/ 78924 w 488799"/>
              <a:gd name="connsiteY218" fmla="*/ 424255 h 488823"/>
              <a:gd name="connsiteX219" fmla="*/ 81051 w 488799"/>
              <a:gd name="connsiteY219" fmla="*/ 426212 h 488823"/>
              <a:gd name="connsiteX220" fmla="*/ 85342 w 488799"/>
              <a:gd name="connsiteY220" fmla="*/ 429980 h 488823"/>
              <a:gd name="connsiteX221" fmla="*/ 87494 w 488799"/>
              <a:gd name="connsiteY221" fmla="*/ 431803 h 488823"/>
              <a:gd name="connsiteX222" fmla="*/ 88429 w 488799"/>
              <a:gd name="connsiteY222" fmla="*/ 432581 h 488823"/>
              <a:gd name="connsiteX223" fmla="*/ 90289 w 488799"/>
              <a:gd name="connsiteY223" fmla="*/ 434113 h 488823"/>
              <a:gd name="connsiteX224" fmla="*/ 93158 w 488799"/>
              <a:gd name="connsiteY224" fmla="*/ 436422 h 488823"/>
              <a:gd name="connsiteX225" fmla="*/ 100342 w 488799"/>
              <a:gd name="connsiteY225" fmla="*/ 441868 h 488823"/>
              <a:gd name="connsiteX226" fmla="*/ 108024 w 488799"/>
              <a:gd name="connsiteY226" fmla="*/ 447265 h 488823"/>
              <a:gd name="connsiteX227" fmla="*/ 111938 w 488799"/>
              <a:gd name="connsiteY227" fmla="*/ 449842 h 488823"/>
              <a:gd name="connsiteX228" fmla="*/ 115913 w 488799"/>
              <a:gd name="connsiteY228" fmla="*/ 452358 h 488823"/>
              <a:gd name="connsiteX229" fmla="*/ 119948 w 488799"/>
              <a:gd name="connsiteY229" fmla="*/ 454813 h 488823"/>
              <a:gd name="connsiteX230" fmla="*/ 124020 w 488799"/>
              <a:gd name="connsiteY230" fmla="*/ 457171 h 488823"/>
              <a:gd name="connsiteX231" fmla="*/ 128141 w 488799"/>
              <a:gd name="connsiteY231" fmla="*/ 459457 h 488823"/>
              <a:gd name="connsiteX232" fmla="*/ 132310 w 488799"/>
              <a:gd name="connsiteY232" fmla="*/ 461669 h 488823"/>
              <a:gd name="connsiteX233" fmla="*/ 136273 w 488799"/>
              <a:gd name="connsiteY233" fmla="*/ 463662 h 488823"/>
              <a:gd name="connsiteX234" fmla="*/ 137002 w 488799"/>
              <a:gd name="connsiteY234" fmla="*/ 464015 h 488823"/>
              <a:gd name="connsiteX235" fmla="*/ 140806 w 488799"/>
              <a:gd name="connsiteY235" fmla="*/ 465850 h 488823"/>
              <a:gd name="connsiteX236" fmla="*/ 145122 w 488799"/>
              <a:gd name="connsiteY236" fmla="*/ 467819 h 488823"/>
              <a:gd name="connsiteX237" fmla="*/ 149473 w 488799"/>
              <a:gd name="connsiteY237" fmla="*/ 469703 h 488823"/>
              <a:gd name="connsiteX238" fmla="*/ 153873 w 488799"/>
              <a:gd name="connsiteY238" fmla="*/ 471515 h 488823"/>
              <a:gd name="connsiteX239" fmla="*/ 157398 w 488799"/>
              <a:gd name="connsiteY239" fmla="*/ 472876 h 488823"/>
              <a:gd name="connsiteX240" fmla="*/ 159149 w 488799"/>
              <a:gd name="connsiteY240" fmla="*/ 473544 h 488823"/>
              <a:gd name="connsiteX241" fmla="*/ 161811 w 488799"/>
              <a:gd name="connsiteY241" fmla="*/ 474517 h 488823"/>
              <a:gd name="connsiteX242" fmla="*/ 163792 w 488799"/>
              <a:gd name="connsiteY242" fmla="*/ 475222 h 488823"/>
              <a:gd name="connsiteX243" fmla="*/ 172605 w 488799"/>
              <a:gd name="connsiteY243" fmla="*/ 478115 h 488823"/>
              <a:gd name="connsiteX244" fmla="*/ 175340 w 488799"/>
              <a:gd name="connsiteY244" fmla="*/ 478929 h 488823"/>
              <a:gd name="connsiteX245" fmla="*/ 178087 w 488799"/>
              <a:gd name="connsiteY245" fmla="*/ 479719 h 488823"/>
              <a:gd name="connsiteX246" fmla="*/ 190898 w 488799"/>
              <a:gd name="connsiteY246" fmla="*/ 482953 h 488823"/>
              <a:gd name="connsiteX247" fmla="*/ 197644 w 488799"/>
              <a:gd name="connsiteY247" fmla="*/ 484375 h 488823"/>
              <a:gd name="connsiteX248" fmla="*/ 204840 w 488799"/>
              <a:gd name="connsiteY248" fmla="*/ 485651 h 488823"/>
              <a:gd name="connsiteX249" fmla="*/ 207271 w 488799"/>
              <a:gd name="connsiteY249" fmla="*/ 486028 h 488823"/>
              <a:gd name="connsiteX250" fmla="*/ 212121 w 488799"/>
              <a:gd name="connsiteY250" fmla="*/ 486721 h 488823"/>
              <a:gd name="connsiteX251" fmla="*/ 217008 w 488799"/>
              <a:gd name="connsiteY251" fmla="*/ 487316 h 488823"/>
              <a:gd name="connsiteX252" fmla="*/ 219475 w 488799"/>
              <a:gd name="connsiteY252" fmla="*/ 487572 h 488823"/>
              <a:gd name="connsiteX253" fmla="*/ 225042 w 488799"/>
              <a:gd name="connsiteY253" fmla="*/ 488082 h 488823"/>
              <a:gd name="connsiteX254" fmla="*/ 229370 w 488799"/>
              <a:gd name="connsiteY254" fmla="*/ 488374 h 488823"/>
              <a:gd name="connsiteX255" fmla="*/ 231862 w 488799"/>
              <a:gd name="connsiteY255" fmla="*/ 488520 h 488823"/>
              <a:gd name="connsiteX256" fmla="*/ 233831 w 488799"/>
              <a:gd name="connsiteY256" fmla="*/ 488605 h 488823"/>
              <a:gd name="connsiteX257" fmla="*/ 235447 w 488799"/>
              <a:gd name="connsiteY257" fmla="*/ 488666 h 488823"/>
              <a:gd name="connsiteX258" fmla="*/ 238425 w 488799"/>
              <a:gd name="connsiteY258" fmla="*/ 488751 h 488823"/>
              <a:gd name="connsiteX259" fmla="*/ 240237 w 488799"/>
              <a:gd name="connsiteY259" fmla="*/ 488787 h 488823"/>
              <a:gd name="connsiteX260" fmla="*/ 241877 w 488799"/>
              <a:gd name="connsiteY260" fmla="*/ 488811 h 488823"/>
              <a:gd name="connsiteX261" fmla="*/ 244406 w 488799"/>
              <a:gd name="connsiteY261" fmla="*/ 488824 h 488823"/>
              <a:gd name="connsiteX262" fmla="*/ 247311 w 488799"/>
              <a:gd name="connsiteY262" fmla="*/ 488811 h 488823"/>
              <a:gd name="connsiteX263" fmla="*/ 250216 w 488799"/>
              <a:gd name="connsiteY263" fmla="*/ 488751 h 488823"/>
              <a:gd name="connsiteX264" fmla="*/ 253109 w 488799"/>
              <a:gd name="connsiteY264" fmla="*/ 488666 h 488823"/>
              <a:gd name="connsiteX265" fmla="*/ 255868 w 488799"/>
              <a:gd name="connsiteY265" fmla="*/ 488556 h 488823"/>
              <a:gd name="connsiteX266" fmla="*/ 255977 w 488799"/>
              <a:gd name="connsiteY266" fmla="*/ 488556 h 488823"/>
              <a:gd name="connsiteX267" fmla="*/ 333771 w 488799"/>
              <a:gd name="connsiteY267" fmla="*/ 471952 h 488823"/>
              <a:gd name="connsiteX268" fmla="*/ 336713 w 488799"/>
              <a:gd name="connsiteY268" fmla="*/ 470761 h 488823"/>
              <a:gd name="connsiteX269" fmla="*/ 339083 w 488799"/>
              <a:gd name="connsiteY269" fmla="*/ 469776 h 488823"/>
              <a:gd name="connsiteX270" fmla="*/ 353791 w 488799"/>
              <a:gd name="connsiteY270" fmla="*/ 463006 h 488823"/>
              <a:gd name="connsiteX271" fmla="*/ 356562 w 488799"/>
              <a:gd name="connsiteY271" fmla="*/ 461584 h 488823"/>
              <a:gd name="connsiteX272" fmla="*/ 359322 w 488799"/>
              <a:gd name="connsiteY272" fmla="*/ 460137 h 488823"/>
              <a:gd name="connsiteX273" fmla="*/ 362069 w 488799"/>
              <a:gd name="connsiteY273" fmla="*/ 458654 h 488823"/>
              <a:gd name="connsiteX274" fmla="*/ 363624 w 488799"/>
              <a:gd name="connsiteY274" fmla="*/ 457791 h 488823"/>
              <a:gd name="connsiteX275" fmla="*/ 365885 w 488799"/>
              <a:gd name="connsiteY275" fmla="*/ 456503 h 488823"/>
              <a:gd name="connsiteX276" fmla="*/ 372802 w 488799"/>
              <a:gd name="connsiteY276" fmla="*/ 452382 h 488823"/>
              <a:gd name="connsiteX277" fmla="*/ 375427 w 488799"/>
              <a:gd name="connsiteY277" fmla="*/ 450741 h 488823"/>
              <a:gd name="connsiteX278" fmla="*/ 380605 w 488799"/>
              <a:gd name="connsiteY278" fmla="*/ 447350 h 488823"/>
              <a:gd name="connsiteX279" fmla="*/ 383170 w 488799"/>
              <a:gd name="connsiteY279" fmla="*/ 445599 h 488823"/>
              <a:gd name="connsiteX280" fmla="*/ 388227 w 488799"/>
              <a:gd name="connsiteY280" fmla="*/ 442014 h 488823"/>
              <a:gd name="connsiteX281" fmla="*/ 390500 w 488799"/>
              <a:gd name="connsiteY281" fmla="*/ 440324 h 488823"/>
              <a:gd name="connsiteX282" fmla="*/ 398401 w 488799"/>
              <a:gd name="connsiteY282" fmla="*/ 434174 h 488823"/>
              <a:gd name="connsiteX283" fmla="*/ 402789 w 488799"/>
              <a:gd name="connsiteY283" fmla="*/ 430527 h 488823"/>
              <a:gd name="connsiteX284" fmla="*/ 405123 w 488799"/>
              <a:gd name="connsiteY284" fmla="*/ 428509 h 488823"/>
              <a:gd name="connsiteX285" fmla="*/ 411990 w 488799"/>
              <a:gd name="connsiteY285" fmla="*/ 422286 h 488823"/>
              <a:gd name="connsiteX286" fmla="*/ 414227 w 488799"/>
              <a:gd name="connsiteY286" fmla="*/ 420159 h 488823"/>
              <a:gd name="connsiteX287" fmla="*/ 416439 w 488799"/>
              <a:gd name="connsiteY287" fmla="*/ 418007 h 488823"/>
              <a:gd name="connsiteX288" fmla="*/ 418518 w 488799"/>
              <a:gd name="connsiteY288" fmla="*/ 415916 h 488823"/>
              <a:gd name="connsiteX289" fmla="*/ 420572 w 488799"/>
              <a:gd name="connsiteY289" fmla="*/ 413814 h 488823"/>
              <a:gd name="connsiteX290" fmla="*/ 424607 w 488799"/>
              <a:gd name="connsiteY290" fmla="*/ 409511 h 488823"/>
              <a:gd name="connsiteX291" fmla="*/ 426528 w 488799"/>
              <a:gd name="connsiteY291" fmla="*/ 407420 h 488823"/>
              <a:gd name="connsiteX292" fmla="*/ 428558 w 488799"/>
              <a:gd name="connsiteY292" fmla="*/ 405123 h 488823"/>
              <a:gd name="connsiteX293" fmla="*/ 430308 w 488799"/>
              <a:gd name="connsiteY293" fmla="*/ 403093 h 488823"/>
              <a:gd name="connsiteX294" fmla="*/ 430563 w 488799"/>
              <a:gd name="connsiteY294" fmla="*/ 402789 h 488823"/>
              <a:gd name="connsiteX295" fmla="*/ 434247 w 488799"/>
              <a:gd name="connsiteY295" fmla="*/ 398364 h 488823"/>
              <a:gd name="connsiteX296" fmla="*/ 436082 w 488799"/>
              <a:gd name="connsiteY296" fmla="*/ 396067 h 488823"/>
              <a:gd name="connsiteX297" fmla="*/ 436106 w 488799"/>
              <a:gd name="connsiteY297" fmla="*/ 396043 h 488823"/>
              <a:gd name="connsiteX298" fmla="*/ 437905 w 488799"/>
              <a:gd name="connsiteY298" fmla="*/ 393733 h 488823"/>
              <a:gd name="connsiteX299" fmla="*/ 439704 w 488799"/>
              <a:gd name="connsiteY299" fmla="*/ 391387 h 488823"/>
              <a:gd name="connsiteX300" fmla="*/ 441467 w 488799"/>
              <a:gd name="connsiteY300" fmla="*/ 389017 h 488823"/>
              <a:gd name="connsiteX301" fmla="*/ 443205 w 488799"/>
              <a:gd name="connsiteY301" fmla="*/ 386634 h 488823"/>
              <a:gd name="connsiteX302" fmla="*/ 444919 w 488799"/>
              <a:gd name="connsiteY302" fmla="*/ 384228 h 488823"/>
              <a:gd name="connsiteX303" fmla="*/ 446596 w 488799"/>
              <a:gd name="connsiteY303" fmla="*/ 381784 h 488823"/>
              <a:gd name="connsiteX304" fmla="*/ 448262 w 488799"/>
              <a:gd name="connsiteY304" fmla="*/ 379329 h 488823"/>
              <a:gd name="connsiteX305" fmla="*/ 454692 w 488799"/>
              <a:gd name="connsiteY305" fmla="*/ 369082 h 488823"/>
              <a:gd name="connsiteX306" fmla="*/ 456053 w 488799"/>
              <a:gd name="connsiteY306" fmla="*/ 366736 h 488823"/>
              <a:gd name="connsiteX307" fmla="*/ 459080 w 488799"/>
              <a:gd name="connsiteY307" fmla="*/ 361376 h 488823"/>
              <a:gd name="connsiteX308" fmla="*/ 460380 w 488799"/>
              <a:gd name="connsiteY308" fmla="*/ 358945 h 488823"/>
              <a:gd name="connsiteX309" fmla="*/ 463115 w 488799"/>
              <a:gd name="connsiteY309" fmla="*/ 353645 h 488823"/>
              <a:gd name="connsiteX310" fmla="*/ 464391 w 488799"/>
              <a:gd name="connsiteY310" fmla="*/ 351056 h 488823"/>
              <a:gd name="connsiteX311" fmla="*/ 464501 w 488799"/>
              <a:gd name="connsiteY311" fmla="*/ 350813 h 488823"/>
              <a:gd name="connsiteX312" fmla="*/ 465717 w 488799"/>
              <a:gd name="connsiteY312" fmla="*/ 348285 h 488823"/>
              <a:gd name="connsiteX313" fmla="*/ 466969 w 488799"/>
              <a:gd name="connsiteY313" fmla="*/ 345574 h 488823"/>
              <a:gd name="connsiteX314" fmla="*/ 468184 w 488799"/>
              <a:gd name="connsiteY314" fmla="*/ 342863 h 488823"/>
              <a:gd name="connsiteX315" fmla="*/ 468220 w 488799"/>
              <a:gd name="connsiteY315" fmla="*/ 342778 h 488823"/>
              <a:gd name="connsiteX316" fmla="*/ 470530 w 488799"/>
              <a:gd name="connsiteY316" fmla="*/ 337345 h 488823"/>
              <a:gd name="connsiteX317" fmla="*/ 472754 w 488799"/>
              <a:gd name="connsiteY317" fmla="*/ 331766 h 488823"/>
              <a:gd name="connsiteX318" fmla="*/ 473800 w 488799"/>
              <a:gd name="connsiteY318" fmla="*/ 328958 h 488823"/>
              <a:gd name="connsiteX319" fmla="*/ 474821 w 488799"/>
              <a:gd name="connsiteY319" fmla="*/ 326126 h 488823"/>
              <a:gd name="connsiteX320" fmla="*/ 475817 w 488799"/>
              <a:gd name="connsiteY320" fmla="*/ 323281 h 488823"/>
              <a:gd name="connsiteX321" fmla="*/ 476401 w 488799"/>
              <a:gd name="connsiteY321" fmla="*/ 321519 h 488823"/>
              <a:gd name="connsiteX322" fmla="*/ 477215 w 488799"/>
              <a:gd name="connsiteY322" fmla="*/ 319027 h 488823"/>
              <a:gd name="connsiteX323" fmla="*/ 478078 w 488799"/>
              <a:gd name="connsiteY323" fmla="*/ 316231 h 488823"/>
              <a:gd name="connsiteX324" fmla="*/ 479257 w 488799"/>
              <a:gd name="connsiteY324" fmla="*/ 312293 h 488823"/>
              <a:gd name="connsiteX325" fmla="*/ 479549 w 488799"/>
              <a:gd name="connsiteY325" fmla="*/ 311284 h 488823"/>
              <a:gd name="connsiteX326" fmla="*/ 480230 w 488799"/>
              <a:gd name="connsiteY326" fmla="*/ 308816 h 488823"/>
              <a:gd name="connsiteX327" fmla="*/ 481761 w 488799"/>
              <a:gd name="connsiteY327" fmla="*/ 302933 h 488823"/>
              <a:gd name="connsiteX328" fmla="*/ 483135 w 488799"/>
              <a:gd name="connsiteY328" fmla="*/ 297001 h 488823"/>
              <a:gd name="connsiteX329" fmla="*/ 483779 w 488799"/>
              <a:gd name="connsiteY329" fmla="*/ 293999 h 488823"/>
              <a:gd name="connsiteX330" fmla="*/ 484375 w 488799"/>
              <a:gd name="connsiteY330" fmla="*/ 290997 h 488823"/>
              <a:gd name="connsiteX331" fmla="*/ 484934 w 488799"/>
              <a:gd name="connsiteY331" fmla="*/ 287970 h 488823"/>
              <a:gd name="connsiteX332" fmla="*/ 485457 w 488799"/>
              <a:gd name="connsiteY332" fmla="*/ 284944 h 488823"/>
              <a:gd name="connsiteX333" fmla="*/ 486393 w 488799"/>
              <a:gd name="connsiteY333" fmla="*/ 278842 h 488823"/>
              <a:gd name="connsiteX334" fmla="*/ 486806 w 488799"/>
              <a:gd name="connsiteY334" fmla="*/ 275766 h 488823"/>
              <a:gd name="connsiteX335" fmla="*/ 487523 w 488799"/>
              <a:gd name="connsiteY335" fmla="*/ 269604 h 488823"/>
              <a:gd name="connsiteX336" fmla="*/ 487815 w 488799"/>
              <a:gd name="connsiteY336" fmla="*/ 266504 h 488823"/>
              <a:gd name="connsiteX337" fmla="*/ 488277 w 488799"/>
              <a:gd name="connsiteY337" fmla="*/ 260694 h 488823"/>
              <a:gd name="connsiteX338" fmla="*/ 488301 w 488799"/>
              <a:gd name="connsiteY338" fmla="*/ 260147 h 488823"/>
              <a:gd name="connsiteX339" fmla="*/ 488459 w 488799"/>
              <a:gd name="connsiteY339" fmla="*/ 257521 h 488823"/>
              <a:gd name="connsiteX340" fmla="*/ 488532 w 488799"/>
              <a:gd name="connsiteY340" fmla="*/ 256087 h 488823"/>
              <a:gd name="connsiteX341" fmla="*/ 488617 w 488799"/>
              <a:gd name="connsiteY341" fmla="*/ 253972 h 488823"/>
              <a:gd name="connsiteX342" fmla="*/ 488726 w 488799"/>
              <a:gd name="connsiteY342" fmla="*/ 250386 h 488823"/>
              <a:gd name="connsiteX343" fmla="*/ 488763 w 488799"/>
              <a:gd name="connsiteY343" fmla="*/ 247651 h 488823"/>
              <a:gd name="connsiteX344" fmla="*/ 488799 w 488799"/>
              <a:gd name="connsiteY344" fmla="*/ 244479 h 488823"/>
              <a:gd name="connsiteX345" fmla="*/ 488763 w 488799"/>
              <a:gd name="connsiteY345" fmla="*/ 241306 h 488823"/>
              <a:gd name="connsiteX346" fmla="*/ 488726 w 488799"/>
              <a:gd name="connsiteY346" fmla="*/ 238571 h 488823"/>
              <a:gd name="connsiteX347" fmla="*/ 379426 w 488799"/>
              <a:gd name="connsiteY347" fmla="*/ 146823 h 488823"/>
              <a:gd name="connsiteX348" fmla="*/ 372911 w 488799"/>
              <a:gd name="connsiteY348" fmla="*/ 149157 h 488823"/>
              <a:gd name="connsiteX349" fmla="*/ 364962 w 488799"/>
              <a:gd name="connsiteY349" fmla="*/ 145401 h 488823"/>
              <a:gd name="connsiteX350" fmla="*/ 333808 w 488799"/>
              <a:gd name="connsiteY350" fmla="*/ 116545 h 488823"/>
              <a:gd name="connsiteX351" fmla="*/ 256026 w 488799"/>
              <a:gd name="connsiteY351" fmla="*/ 88867 h 488823"/>
              <a:gd name="connsiteX352" fmla="*/ 244418 w 488799"/>
              <a:gd name="connsiteY352" fmla="*/ 88417 h 488823"/>
              <a:gd name="connsiteX353" fmla="*/ 234159 w 488799"/>
              <a:gd name="connsiteY353" fmla="*/ 78146 h 488823"/>
              <a:gd name="connsiteX354" fmla="*/ 244418 w 488799"/>
              <a:gd name="connsiteY354" fmla="*/ 67887 h 488823"/>
              <a:gd name="connsiteX355" fmla="*/ 256026 w 488799"/>
              <a:gd name="connsiteY355" fmla="*/ 68264 h 488823"/>
              <a:gd name="connsiteX356" fmla="*/ 333808 w 488799"/>
              <a:gd name="connsiteY356" fmla="*/ 92137 h 488823"/>
              <a:gd name="connsiteX357" fmla="*/ 380848 w 488799"/>
              <a:gd name="connsiteY357" fmla="*/ 132359 h 488823"/>
              <a:gd name="connsiteX358" fmla="*/ 379426 w 488799"/>
              <a:gd name="connsiteY358" fmla="*/ 146823 h 488823"/>
              <a:gd name="connsiteX359" fmla="*/ 410690 w 488799"/>
              <a:gd name="connsiteY359" fmla="*/ 254689 h 488823"/>
              <a:gd name="connsiteX360" fmla="*/ 400419 w 488799"/>
              <a:gd name="connsiteY360" fmla="*/ 244418 h 488823"/>
              <a:gd name="connsiteX361" fmla="*/ 390172 w 488799"/>
              <a:gd name="connsiteY361" fmla="*/ 188674 h 488823"/>
              <a:gd name="connsiteX362" fmla="*/ 396091 w 488799"/>
              <a:gd name="connsiteY362" fmla="*/ 175400 h 488823"/>
              <a:gd name="connsiteX363" fmla="*/ 409353 w 488799"/>
              <a:gd name="connsiteY363" fmla="*/ 181320 h 488823"/>
              <a:gd name="connsiteX364" fmla="*/ 420973 w 488799"/>
              <a:gd name="connsiteY364" fmla="*/ 244418 h 488823"/>
              <a:gd name="connsiteX365" fmla="*/ 410702 w 488799"/>
              <a:gd name="connsiteY365" fmla="*/ 254689 h 48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Lst>
            <a:rect l="l" t="t" r="r" b="b"/>
            <a:pathLst>
              <a:path w="488799" h="488823">
                <a:moveTo>
                  <a:pt x="488751" y="238510"/>
                </a:moveTo>
                <a:cubicBezTo>
                  <a:pt x="488714" y="237307"/>
                  <a:pt x="488678" y="236116"/>
                  <a:pt x="488641" y="234925"/>
                </a:cubicBezTo>
                <a:cubicBezTo>
                  <a:pt x="488629" y="234207"/>
                  <a:pt x="488593" y="233502"/>
                  <a:pt x="488556" y="232810"/>
                </a:cubicBezTo>
                <a:cubicBezTo>
                  <a:pt x="488532" y="232336"/>
                  <a:pt x="488508" y="231849"/>
                  <a:pt x="488483" y="231375"/>
                </a:cubicBezTo>
                <a:cubicBezTo>
                  <a:pt x="488447" y="230500"/>
                  <a:pt x="488398" y="229625"/>
                  <a:pt x="488325" y="228750"/>
                </a:cubicBezTo>
                <a:cubicBezTo>
                  <a:pt x="488313" y="228567"/>
                  <a:pt x="488301" y="228397"/>
                  <a:pt x="488301" y="228203"/>
                </a:cubicBezTo>
                <a:cubicBezTo>
                  <a:pt x="488167" y="226258"/>
                  <a:pt x="488034" y="224325"/>
                  <a:pt x="487839" y="222393"/>
                </a:cubicBezTo>
                <a:cubicBezTo>
                  <a:pt x="487754" y="221359"/>
                  <a:pt x="487644" y="220326"/>
                  <a:pt x="487547" y="219293"/>
                </a:cubicBezTo>
                <a:cubicBezTo>
                  <a:pt x="487341" y="217227"/>
                  <a:pt x="487110" y="215172"/>
                  <a:pt x="486830" y="213130"/>
                </a:cubicBezTo>
                <a:cubicBezTo>
                  <a:pt x="486709" y="212097"/>
                  <a:pt x="486563" y="211076"/>
                  <a:pt x="486417" y="210055"/>
                </a:cubicBezTo>
                <a:cubicBezTo>
                  <a:pt x="486271" y="209034"/>
                  <a:pt x="486125" y="208013"/>
                  <a:pt x="485967" y="207004"/>
                </a:cubicBezTo>
                <a:cubicBezTo>
                  <a:pt x="485809" y="206032"/>
                  <a:pt x="485663" y="205059"/>
                  <a:pt x="485505" y="204099"/>
                </a:cubicBezTo>
                <a:cubicBezTo>
                  <a:pt x="485481" y="204014"/>
                  <a:pt x="485469" y="203929"/>
                  <a:pt x="485469" y="203844"/>
                </a:cubicBezTo>
                <a:cubicBezTo>
                  <a:pt x="485286" y="202871"/>
                  <a:pt x="485128" y="201899"/>
                  <a:pt x="484958" y="200939"/>
                </a:cubicBezTo>
                <a:cubicBezTo>
                  <a:pt x="484764" y="199930"/>
                  <a:pt x="484594" y="198921"/>
                  <a:pt x="484399" y="197912"/>
                </a:cubicBezTo>
                <a:cubicBezTo>
                  <a:pt x="484192" y="196915"/>
                  <a:pt x="483998" y="195906"/>
                  <a:pt x="483804" y="194910"/>
                </a:cubicBezTo>
                <a:cubicBezTo>
                  <a:pt x="483597" y="193901"/>
                  <a:pt x="483378" y="192904"/>
                  <a:pt x="483159" y="191907"/>
                </a:cubicBezTo>
                <a:cubicBezTo>
                  <a:pt x="482722" y="189914"/>
                  <a:pt x="482260" y="187932"/>
                  <a:pt x="481786" y="185975"/>
                </a:cubicBezTo>
                <a:cubicBezTo>
                  <a:pt x="481312" y="183994"/>
                  <a:pt x="480801" y="182049"/>
                  <a:pt x="480254" y="180092"/>
                </a:cubicBezTo>
                <a:cubicBezTo>
                  <a:pt x="480035" y="179266"/>
                  <a:pt x="479804" y="178451"/>
                  <a:pt x="479574" y="177625"/>
                </a:cubicBezTo>
                <a:cubicBezTo>
                  <a:pt x="479476" y="177284"/>
                  <a:pt x="479379" y="176944"/>
                  <a:pt x="479282" y="176616"/>
                </a:cubicBezTo>
                <a:cubicBezTo>
                  <a:pt x="478917" y="175291"/>
                  <a:pt x="478528" y="173990"/>
                  <a:pt x="478103" y="172678"/>
                </a:cubicBezTo>
                <a:cubicBezTo>
                  <a:pt x="477823" y="171754"/>
                  <a:pt x="477544" y="170854"/>
                  <a:pt x="477252" y="169930"/>
                </a:cubicBezTo>
                <a:cubicBezTo>
                  <a:pt x="476948" y="168946"/>
                  <a:pt x="476644" y="167973"/>
                  <a:pt x="476292" y="167013"/>
                </a:cubicBezTo>
                <a:cubicBezTo>
                  <a:pt x="475817" y="165591"/>
                  <a:pt x="475331" y="164193"/>
                  <a:pt x="474833" y="162783"/>
                </a:cubicBezTo>
                <a:cubicBezTo>
                  <a:pt x="474505" y="161835"/>
                  <a:pt x="474164" y="160899"/>
                  <a:pt x="473812" y="159951"/>
                </a:cubicBezTo>
                <a:cubicBezTo>
                  <a:pt x="473472" y="159015"/>
                  <a:pt x="473119" y="158079"/>
                  <a:pt x="472766" y="157143"/>
                </a:cubicBezTo>
                <a:cubicBezTo>
                  <a:pt x="472414" y="156207"/>
                  <a:pt x="472037" y="155283"/>
                  <a:pt x="471673" y="154347"/>
                </a:cubicBezTo>
                <a:cubicBezTo>
                  <a:pt x="471320" y="153411"/>
                  <a:pt x="470931" y="152500"/>
                  <a:pt x="470554" y="151564"/>
                </a:cubicBezTo>
                <a:cubicBezTo>
                  <a:pt x="469801" y="149741"/>
                  <a:pt x="469035" y="147929"/>
                  <a:pt x="468245" y="146130"/>
                </a:cubicBezTo>
                <a:cubicBezTo>
                  <a:pt x="468233" y="146106"/>
                  <a:pt x="468220" y="146070"/>
                  <a:pt x="468208" y="146045"/>
                </a:cubicBezTo>
                <a:cubicBezTo>
                  <a:pt x="467807" y="145134"/>
                  <a:pt x="467406" y="144246"/>
                  <a:pt x="466993" y="143335"/>
                </a:cubicBezTo>
                <a:cubicBezTo>
                  <a:pt x="466579" y="142423"/>
                  <a:pt x="466166" y="141536"/>
                  <a:pt x="465741" y="140624"/>
                </a:cubicBezTo>
                <a:cubicBezTo>
                  <a:pt x="465449" y="140004"/>
                  <a:pt x="465145" y="139360"/>
                  <a:pt x="464829" y="138740"/>
                </a:cubicBezTo>
                <a:cubicBezTo>
                  <a:pt x="464173" y="137391"/>
                  <a:pt x="463516" y="136042"/>
                  <a:pt x="462848" y="134705"/>
                </a:cubicBezTo>
                <a:cubicBezTo>
                  <a:pt x="462046" y="133112"/>
                  <a:pt x="461231" y="131544"/>
                  <a:pt x="460392" y="129964"/>
                </a:cubicBezTo>
                <a:cubicBezTo>
                  <a:pt x="459955" y="129162"/>
                  <a:pt x="459529" y="128347"/>
                  <a:pt x="459092" y="127533"/>
                </a:cubicBezTo>
                <a:cubicBezTo>
                  <a:pt x="458107" y="125734"/>
                  <a:pt x="457098" y="123947"/>
                  <a:pt x="456065" y="122172"/>
                </a:cubicBezTo>
                <a:cubicBezTo>
                  <a:pt x="455628" y="121407"/>
                  <a:pt x="455190" y="120641"/>
                  <a:pt x="454728" y="119875"/>
                </a:cubicBezTo>
                <a:cubicBezTo>
                  <a:pt x="453306" y="117493"/>
                  <a:pt x="451847" y="115122"/>
                  <a:pt x="450352" y="112776"/>
                </a:cubicBezTo>
                <a:cubicBezTo>
                  <a:pt x="449659" y="111707"/>
                  <a:pt x="448979" y="110637"/>
                  <a:pt x="448274" y="109567"/>
                </a:cubicBezTo>
                <a:cubicBezTo>
                  <a:pt x="443363" y="102177"/>
                  <a:pt x="438063" y="95054"/>
                  <a:pt x="432399" y="88247"/>
                </a:cubicBezTo>
                <a:cubicBezTo>
                  <a:pt x="431961" y="87724"/>
                  <a:pt x="431536" y="87202"/>
                  <a:pt x="431086" y="86679"/>
                </a:cubicBezTo>
                <a:cubicBezTo>
                  <a:pt x="430478" y="85938"/>
                  <a:pt x="429846" y="85208"/>
                  <a:pt x="429214" y="84479"/>
                </a:cubicBezTo>
                <a:cubicBezTo>
                  <a:pt x="429008" y="84236"/>
                  <a:pt x="428789" y="83993"/>
                  <a:pt x="428594" y="83750"/>
                </a:cubicBezTo>
                <a:cubicBezTo>
                  <a:pt x="427768" y="82802"/>
                  <a:pt x="426929" y="81878"/>
                  <a:pt x="426102" y="80942"/>
                </a:cubicBezTo>
                <a:cubicBezTo>
                  <a:pt x="424303" y="78948"/>
                  <a:pt x="422480" y="76979"/>
                  <a:pt x="420608" y="75059"/>
                </a:cubicBezTo>
                <a:cubicBezTo>
                  <a:pt x="419928" y="74354"/>
                  <a:pt x="419247" y="73637"/>
                  <a:pt x="418554" y="72956"/>
                </a:cubicBezTo>
                <a:cubicBezTo>
                  <a:pt x="417861" y="72251"/>
                  <a:pt x="417181" y="71546"/>
                  <a:pt x="416476" y="70865"/>
                </a:cubicBezTo>
                <a:cubicBezTo>
                  <a:pt x="415746" y="70136"/>
                  <a:pt x="415005" y="69419"/>
                  <a:pt x="414263" y="68714"/>
                </a:cubicBezTo>
                <a:cubicBezTo>
                  <a:pt x="413534" y="67997"/>
                  <a:pt x="412792" y="67291"/>
                  <a:pt x="412051" y="66611"/>
                </a:cubicBezTo>
                <a:cubicBezTo>
                  <a:pt x="410544" y="65176"/>
                  <a:pt x="409024" y="63779"/>
                  <a:pt x="407468" y="62393"/>
                </a:cubicBezTo>
                <a:cubicBezTo>
                  <a:pt x="406703" y="61700"/>
                  <a:pt x="405937" y="61032"/>
                  <a:pt x="405159" y="60351"/>
                </a:cubicBezTo>
                <a:cubicBezTo>
                  <a:pt x="404381" y="59670"/>
                  <a:pt x="403603" y="59002"/>
                  <a:pt x="402825" y="58333"/>
                </a:cubicBezTo>
                <a:cubicBezTo>
                  <a:pt x="401573" y="57263"/>
                  <a:pt x="400309" y="56206"/>
                  <a:pt x="399021" y="55173"/>
                </a:cubicBezTo>
                <a:cubicBezTo>
                  <a:pt x="398328" y="54589"/>
                  <a:pt x="397635" y="54018"/>
                  <a:pt x="396930" y="53471"/>
                </a:cubicBezTo>
                <a:cubicBezTo>
                  <a:pt x="387230" y="45692"/>
                  <a:pt x="376898" y="38666"/>
                  <a:pt x="366068" y="32430"/>
                </a:cubicBezTo>
                <a:cubicBezTo>
                  <a:pt x="364925" y="31762"/>
                  <a:pt x="363758" y="31105"/>
                  <a:pt x="362591" y="30461"/>
                </a:cubicBezTo>
                <a:cubicBezTo>
                  <a:pt x="361509" y="29865"/>
                  <a:pt x="360440" y="29270"/>
                  <a:pt x="359346" y="28699"/>
                </a:cubicBezTo>
                <a:cubicBezTo>
                  <a:pt x="358434" y="28212"/>
                  <a:pt x="357510" y="27726"/>
                  <a:pt x="356587" y="27252"/>
                </a:cubicBezTo>
                <a:cubicBezTo>
                  <a:pt x="355663" y="26766"/>
                  <a:pt x="354739" y="26292"/>
                  <a:pt x="353815" y="25830"/>
                </a:cubicBezTo>
                <a:cubicBezTo>
                  <a:pt x="351214" y="24517"/>
                  <a:pt x="348576" y="23265"/>
                  <a:pt x="345926" y="22050"/>
                </a:cubicBezTo>
                <a:cubicBezTo>
                  <a:pt x="344796" y="21527"/>
                  <a:pt x="343641" y="21016"/>
                  <a:pt x="342499" y="20506"/>
                </a:cubicBezTo>
                <a:cubicBezTo>
                  <a:pt x="341380" y="20020"/>
                  <a:pt x="340250" y="19533"/>
                  <a:pt x="339119" y="19059"/>
                </a:cubicBezTo>
                <a:cubicBezTo>
                  <a:pt x="338342" y="18731"/>
                  <a:pt x="337551" y="18391"/>
                  <a:pt x="336749" y="18075"/>
                </a:cubicBezTo>
                <a:cubicBezTo>
                  <a:pt x="335777" y="17662"/>
                  <a:pt x="334792" y="17273"/>
                  <a:pt x="333808" y="16884"/>
                </a:cubicBezTo>
                <a:cubicBezTo>
                  <a:pt x="309534" y="7342"/>
                  <a:pt x="283363" y="1556"/>
                  <a:pt x="256014" y="280"/>
                </a:cubicBezTo>
                <a:cubicBezTo>
                  <a:pt x="252173" y="97"/>
                  <a:pt x="248308" y="0"/>
                  <a:pt x="244430" y="0"/>
                </a:cubicBezTo>
                <a:cubicBezTo>
                  <a:pt x="242971" y="0"/>
                  <a:pt x="241537" y="12"/>
                  <a:pt x="240091" y="36"/>
                </a:cubicBezTo>
                <a:cubicBezTo>
                  <a:pt x="239033" y="49"/>
                  <a:pt x="237963" y="73"/>
                  <a:pt x="236894" y="109"/>
                </a:cubicBezTo>
                <a:cubicBezTo>
                  <a:pt x="233065" y="219"/>
                  <a:pt x="229260" y="425"/>
                  <a:pt x="225480" y="717"/>
                </a:cubicBezTo>
                <a:cubicBezTo>
                  <a:pt x="224690" y="766"/>
                  <a:pt x="223900" y="851"/>
                  <a:pt x="223110" y="912"/>
                </a:cubicBezTo>
                <a:cubicBezTo>
                  <a:pt x="222149" y="985"/>
                  <a:pt x="221213" y="1082"/>
                  <a:pt x="220253" y="1179"/>
                </a:cubicBezTo>
                <a:cubicBezTo>
                  <a:pt x="218940" y="1301"/>
                  <a:pt x="217616" y="1446"/>
                  <a:pt x="216291" y="1604"/>
                </a:cubicBezTo>
                <a:cubicBezTo>
                  <a:pt x="216242" y="1604"/>
                  <a:pt x="216206" y="1604"/>
                  <a:pt x="216157" y="1617"/>
                </a:cubicBezTo>
                <a:cubicBezTo>
                  <a:pt x="214881" y="1762"/>
                  <a:pt x="213604" y="1921"/>
                  <a:pt x="212328" y="2091"/>
                </a:cubicBezTo>
                <a:cubicBezTo>
                  <a:pt x="211076" y="2249"/>
                  <a:pt x="209824" y="2419"/>
                  <a:pt x="208584" y="2613"/>
                </a:cubicBezTo>
                <a:cubicBezTo>
                  <a:pt x="208487" y="2626"/>
                  <a:pt x="208365" y="2638"/>
                  <a:pt x="208268" y="2662"/>
                </a:cubicBezTo>
                <a:cubicBezTo>
                  <a:pt x="207174" y="2820"/>
                  <a:pt x="206080" y="2978"/>
                  <a:pt x="204998" y="3160"/>
                </a:cubicBezTo>
                <a:cubicBezTo>
                  <a:pt x="204634" y="3209"/>
                  <a:pt x="204257" y="3270"/>
                  <a:pt x="203880" y="3343"/>
                </a:cubicBezTo>
                <a:cubicBezTo>
                  <a:pt x="202786" y="3537"/>
                  <a:pt x="201692" y="3707"/>
                  <a:pt x="200610" y="3914"/>
                </a:cubicBezTo>
                <a:cubicBezTo>
                  <a:pt x="199674" y="4084"/>
                  <a:pt x="198751" y="4254"/>
                  <a:pt x="197815" y="4437"/>
                </a:cubicBezTo>
                <a:cubicBezTo>
                  <a:pt x="196866" y="4619"/>
                  <a:pt x="195943" y="4801"/>
                  <a:pt x="195007" y="4996"/>
                </a:cubicBezTo>
                <a:cubicBezTo>
                  <a:pt x="194873" y="5020"/>
                  <a:pt x="194751" y="5044"/>
                  <a:pt x="194618" y="5069"/>
                </a:cubicBezTo>
                <a:cubicBezTo>
                  <a:pt x="193694" y="5263"/>
                  <a:pt x="192782" y="5446"/>
                  <a:pt x="191859" y="5652"/>
                </a:cubicBezTo>
                <a:cubicBezTo>
                  <a:pt x="191786" y="5664"/>
                  <a:pt x="191700" y="5676"/>
                  <a:pt x="191628" y="5701"/>
                </a:cubicBezTo>
                <a:cubicBezTo>
                  <a:pt x="190692" y="5907"/>
                  <a:pt x="189768" y="6126"/>
                  <a:pt x="188832" y="6333"/>
                </a:cubicBezTo>
                <a:cubicBezTo>
                  <a:pt x="188516" y="6394"/>
                  <a:pt x="188200" y="6479"/>
                  <a:pt x="187884" y="6552"/>
                </a:cubicBezTo>
                <a:cubicBezTo>
                  <a:pt x="187009" y="6758"/>
                  <a:pt x="186133" y="6977"/>
                  <a:pt x="185270" y="7184"/>
                </a:cubicBezTo>
                <a:cubicBezTo>
                  <a:pt x="184043" y="7488"/>
                  <a:pt x="182815" y="7791"/>
                  <a:pt x="181599" y="8132"/>
                </a:cubicBezTo>
                <a:cubicBezTo>
                  <a:pt x="181539" y="8144"/>
                  <a:pt x="181490" y="8156"/>
                  <a:pt x="181429" y="8180"/>
                </a:cubicBezTo>
                <a:cubicBezTo>
                  <a:pt x="180396" y="8448"/>
                  <a:pt x="179375" y="8715"/>
                  <a:pt x="178354" y="9007"/>
                </a:cubicBezTo>
                <a:cubicBezTo>
                  <a:pt x="176616" y="9493"/>
                  <a:pt x="174878" y="10004"/>
                  <a:pt x="173164" y="10526"/>
                </a:cubicBezTo>
                <a:cubicBezTo>
                  <a:pt x="172228" y="10806"/>
                  <a:pt x="171292" y="11098"/>
                  <a:pt x="170368" y="11389"/>
                </a:cubicBezTo>
                <a:cubicBezTo>
                  <a:pt x="169651" y="11620"/>
                  <a:pt x="168934" y="11851"/>
                  <a:pt x="168229" y="12094"/>
                </a:cubicBezTo>
                <a:cubicBezTo>
                  <a:pt x="167366" y="12362"/>
                  <a:pt x="166503" y="12654"/>
                  <a:pt x="165652" y="12945"/>
                </a:cubicBezTo>
                <a:cubicBezTo>
                  <a:pt x="164777" y="13237"/>
                  <a:pt x="163877" y="13541"/>
                  <a:pt x="163002" y="13869"/>
                </a:cubicBezTo>
                <a:cubicBezTo>
                  <a:pt x="160571" y="14720"/>
                  <a:pt x="158176" y="15619"/>
                  <a:pt x="155794" y="16555"/>
                </a:cubicBezTo>
                <a:cubicBezTo>
                  <a:pt x="154809" y="16932"/>
                  <a:pt x="153837" y="17321"/>
                  <a:pt x="152889" y="17710"/>
                </a:cubicBezTo>
                <a:cubicBezTo>
                  <a:pt x="151467" y="18281"/>
                  <a:pt x="150069" y="18865"/>
                  <a:pt x="148671" y="19461"/>
                </a:cubicBezTo>
                <a:cubicBezTo>
                  <a:pt x="147492" y="19959"/>
                  <a:pt x="146325" y="20469"/>
                  <a:pt x="145158" y="20992"/>
                </a:cubicBezTo>
                <a:cubicBezTo>
                  <a:pt x="144113" y="21454"/>
                  <a:pt x="143079" y="21928"/>
                  <a:pt x="142046" y="22414"/>
                </a:cubicBezTo>
                <a:cubicBezTo>
                  <a:pt x="140515" y="23119"/>
                  <a:pt x="139007" y="23836"/>
                  <a:pt x="137500" y="24566"/>
                </a:cubicBezTo>
                <a:cubicBezTo>
                  <a:pt x="135446" y="25563"/>
                  <a:pt x="133416" y="26596"/>
                  <a:pt x="131398" y="27641"/>
                </a:cubicBezTo>
                <a:cubicBezTo>
                  <a:pt x="130268" y="28225"/>
                  <a:pt x="129150" y="28832"/>
                  <a:pt x="128031" y="29440"/>
                </a:cubicBezTo>
                <a:cubicBezTo>
                  <a:pt x="126925" y="30036"/>
                  <a:pt x="125807" y="30656"/>
                  <a:pt x="124701" y="31275"/>
                </a:cubicBezTo>
                <a:cubicBezTo>
                  <a:pt x="122841" y="32321"/>
                  <a:pt x="120993" y="33390"/>
                  <a:pt x="119170" y="34484"/>
                </a:cubicBezTo>
                <a:cubicBezTo>
                  <a:pt x="118575" y="34837"/>
                  <a:pt x="117967" y="35214"/>
                  <a:pt x="117371" y="35578"/>
                </a:cubicBezTo>
                <a:cubicBezTo>
                  <a:pt x="116545" y="36077"/>
                  <a:pt x="115706" y="36587"/>
                  <a:pt x="114891" y="37110"/>
                </a:cubicBezTo>
                <a:cubicBezTo>
                  <a:pt x="113883" y="37730"/>
                  <a:pt x="112874" y="38374"/>
                  <a:pt x="111877" y="39006"/>
                </a:cubicBezTo>
                <a:cubicBezTo>
                  <a:pt x="106346" y="42592"/>
                  <a:pt x="100974" y="46384"/>
                  <a:pt x="95771" y="50384"/>
                </a:cubicBezTo>
                <a:cubicBezTo>
                  <a:pt x="95066" y="50918"/>
                  <a:pt x="94386" y="51453"/>
                  <a:pt x="93693" y="51988"/>
                </a:cubicBezTo>
                <a:cubicBezTo>
                  <a:pt x="92526" y="52900"/>
                  <a:pt x="91395" y="53811"/>
                  <a:pt x="90265" y="54747"/>
                </a:cubicBezTo>
                <a:cubicBezTo>
                  <a:pt x="89280" y="55537"/>
                  <a:pt x="88308" y="56340"/>
                  <a:pt x="87360" y="57154"/>
                </a:cubicBezTo>
                <a:cubicBezTo>
                  <a:pt x="85330" y="58856"/>
                  <a:pt x="83336" y="60570"/>
                  <a:pt x="81379" y="62344"/>
                </a:cubicBezTo>
                <a:cubicBezTo>
                  <a:pt x="80529" y="63098"/>
                  <a:pt x="79678" y="63864"/>
                  <a:pt x="78851" y="64642"/>
                </a:cubicBezTo>
                <a:cubicBezTo>
                  <a:pt x="78207" y="65213"/>
                  <a:pt x="77575" y="65821"/>
                  <a:pt x="76931" y="66428"/>
                </a:cubicBezTo>
                <a:cubicBezTo>
                  <a:pt x="76432" y="66890"/>
                  <a:pt x="75934" y="67364"/>
                  <a:pt x="75436" y="67838"/>
                </a:cubicBezTo>
                <a:cubicBezTo>
                  <a:pt x="73831" y="69382"/>
                  <a:pt x="72239" y="70938"/>
                  <a:pt x="70671" y="72518"/>
                </a:cubicBezTo>
                <a:cubicBezTo>
                  <a:pt x="69795" y="73418"/>
                  <a:pt x="68908" y="74317"/>
                  <a:pt x="68045" y="75229"/>
                </a:cubicBezTo>
                <a:cubicBezTo>
                  <a:pt x="67182" y="76141"/>
                  <a:pt x="66307" y="77052"/>
                  <a:pt x="65456" y="77976"/>
                </a:cubicBezTo>
                <a:cubicBezTo>
                  <a:pt x="64593" y="78912"/>
                  <a:pt x="63742" y="79824"/>
                  <a:pt x="62891" y="80772"/>
                </a:cubicBezTo>
                <a:cubicBezTo>
                  <a:pt x="60363" y="83580"/>
                  <a:pt x="57895" y="86436"/>
                  <a:pt x="55501" y="89365"/>
                </a:cubicBezTo>
                <a:cubicBezTo>
                  <a:pt x="54699" y="90338"/>
                  <a:pt x="53909" y="91322"/>
                  <a:pt x="53118" y="92319"/>
                </a:cubicBezTo>
                <a:cubicBezTo>
                  <a:pt x="52122" y="93571"/>
                  <a:pt x="51125" y="94847"/>
                  <a:pt x="50153" y="96124"/>
                </a:cubicBezTo>
                <a:cubicBezTo>
                  <a:pt x="49593" y="96853"/>
                  <a:pt x="49046" y="97582"/>
                  <a:pt x="48487" y="98324"/>
                </a:cubicBezTo>
                <a:cubicBezTo>
                  <a:pt x="47734" y="99333"/>
                  <a:pt x="46980" y="100354"/>
                  <a:pt x="46239" y="101375"/>
                </a:cubicBezTo>
                <a:cubicBezTo>
                  <a:pt x="45497" y="102396"/>
                  <a:pt x="44768" y="103429"/>
                  <a:pt x="44038" y="104462"/>
                </a:cubicBezTo>
                <a:cubicBezTo>
                  <a:pt x="43346" y="105447"/>
                  <a:pt x="42665" y="106444"/>
                  <a:pt x="41984" y="107440"/>
                </a:cubicBezTo>
                <a:cubicBezTo>
                  <a:pt x="40538" y="109580"/>
                  <a:pt x="39116" y="111743"/>
                  <a:pt x="37730" y="113931"/>
                </a:cubicBezTo>
                <a:cubicBezTo>
                  <a:pt x="37134" y="114867"/>
                  <a:pt x="36539" y="115803"/>
                  <a:pt x="35967" y="116763"/>
                </a:cubicBezTo>
                <a:cubicBezTo>
                  <a:pt x="35469" y="117566"/>
                  <a:pt x="34983" y="118368"/>
                  <a:pt x="34497" y="119194"/>
                </a:cubicBezTo>
                <a:cubicBezTo>
                  <a:pt x="33828" y="120288"/>
                  <a:pt x="33196" y="121395"/>
                  <a:pt x="32552" y="122501"/>
                </a:cubicBezTo>
                <a:cubicBezTo>
                  <a:pt x="31956" y="123534"/>
                  <a:pt x="31361" y="124567"/>
                  <a:pt x="30789" y="125600"/>
                </a:cubicBezTo>
                <a:cubicBezTo>
                  <a:pt x="30279" y="126512"/>
                  <a:pt x="29780" y="127411"/>
                  <a:pt x="29294" y="128335"/>
                </a:cubicBezTo>
                <a:cubicBezTo>
                  <a:pt x="28759" y="129320"/>
                  <a:pt x="28237" y="130304"/>
                  <a:pt x="27726" y="131289"/>
                </a:cubicBezTo>
                <a:cubicBezTo>
                  <a:pt x="27203" y="132286"/>
                  <a:pt x="26693" y="133282"/>
                  <a:pt x="26195" y="134279"/>
                </a:cubicBezTo>
                <a:cubicBezTo>
                  <a:pt x="25684" y="135276"/>
                  <a:pt x="25186" y="136273"/>
                  <a:pt x="24699" y="137281"/>
                </a:cubicBezTo>
                <a:cubicBezTo>
                  <a:pt x="23229" y="140296"/>
                  <a:pt x="21819" y="143347"/>
                  <a:pt x="20457" y="146422"/>
                </a:cubicBezTo>
                <a:cubicBezTo>
                  <a:pt x="19801" y="147929"/>
                  <a:pt x="19157" y="149449"/>
                  <a:pt x="18512" y="150968"/>
                </a:cubicBezTo>
                <a:cubicBezTo>
                  <a:pt x="18427" y="151199"/>
                  <a:pt x="18318" y="151430"/>
                  <a:pt x="18233" y="151661"/>
                </a:cubicBezTo>
                <a:cubicBezTo>
                  <a:pt x="17042" y="154578"/>
                  <a:pt x="15899" y="157532"/>
                  <a:pt x="14805" y="160510"/>
                </a:cubicBezTo>
                <a:cubicBezTo>
                  <a:pt x="14234" y="162090"/>
                  <a:pt x="13662" y="163683"/>
                  <a:pt x="13115" y="165299"/>
                </a:cubicBezTo>
                <a:cubicBezTo>
                  <a:pt x="12568" y="166904"/>
                  <a:pt x="12034" y="168520"/>
                  <a:pt x="11511" y="170137"/>
                </a:cubicBezTo>
                <a:cubicBezTo>
                  <a:pt x="11000" y="171754"/>
                  <a:pt x="10502" y="173383"/>
                  <a:pt x="10016" y="175011"/>
                </a:cubicBezTo>
                <a:cubicBezTo>
                  <a:pt x="9773" y="175826"/>
                  <a:pt x="9530" y="176640"/>
                  <a:pt x="9299" y="177467"/>
                </a:cubicBezTo>
                <a:cubicBezTo>
                  <a:pt x="9068" y="178293"/>
                  <a:pt x="8837" y="179108"/>
                  <a:pt x="8618" y="179946"/>
                </a:cubicBezTo>
                <a:cubicBezTo>
                  <a:pt x="8387" y="180761"/>
                  <a:pt x="8168" y="181587"/>
                  <a:pt x="7950" y="182426"/>
                </a:cubicBezTo>
                <a:cubicBezTo>
                  <a:pt x="7719" y="183253"/>
                  <a:pt x="7512" y="184067"/>
                  <a:pt x="7317" y="184906"/>
                </a:cubicBezTo>
                <a:cubicBezTo>
                  <a:pt x="7099" y="185744"/>
                  <a:pt x="6892" y="186583"/>
                  <a:pt x="6710" y="187410"/>
                </a:cubicBezTo>
                <a:cubicBezTo>
                  <a:pt x="5920" y="190740"/>
                  <a:pt x="5190" y="194107"/>
                  <a:pt x="4522" y="197499"/>
                </a:cubicBezTo>
                <a:cubicBezTo>
                  <a:pt x="4206" y="199200"/>
                  <a:pt x="3878" y="200890"/>
                  <a:pt x="3586" y="202592"/>
                </a:cubicBezTo>
                <a:cubicBezTo>
                  <a:pt x="3294" y="204306"/>
                  <a:pt x="3014" y="206007"/>
                  <a:pt x="2759" y="207733"/>
                </a:cubicBezTo>
                <a:cubicBezTo>
                  <a:pt x="2504" y="209447"/>
                  <a:pt x="2261" y="211161"/>
                  <a:pt x="2030" y="212899"/>
                </a:cubicBezTo>
                <a:cubicBezTo>
                  <a:pt x="1920" y="213750"/>
                  <a:pt x="1811" y="214625"/>
                  <a:pt x="1714" y="215488"/>
                </a:cubicBezTo>
                <a:cubicBezTo>
                  <a:pt x="1519" y="217117"/>
                  <a:pt x="1349" y="218758"/>
                  <a:pt x="1191" y="220399"/>
                </a:cubicBezTo>
                <a:cubicBezTo>
                  <a:pt x="1058" y="221651"/>
                  <a:pt x="948" y="222903"/>
                  <a:pt x="851" y="224167"/>
                </a:cubicBezTo>
                <a:cubicBezTo>
                  <a:pt x="693" y="226112"/>
                  <a:pt x="559" y="228045"/>
                  <a:pt x="438" y="230002"/>
                </a:cubicBezTo>
                <a:cubicBezTo>
                  <a:pt x="377" y="230974"/>
                  <a:pt x="328" y="231959"/>
                  <a:pt x="280" y="232943"/>
                </a:cubicBezTo>
                <a:cubicBezTo>
                  <a:pt x="194" y="234900"/>
                  <a:pt x="109" y="236857"/>
                  <a:pt x="73" y="238826"/>
                </a:cubicBezTo>
                <a:cubicBezTo>
                  <a:pt x="49" y="239762"/>
                  <a:pt x="36" y="240686"/>
                  <a:pt x="12" y="241622"/>
                </a:cubicBezTo>
                <a:cubicBezTo>
                  <a:pt x="12" y="242558"/>
                  <a:pt x="0" y="243494"/>
                  <a:pt x="0" y="244430"/>
                </a:cubicBezTo>
                <a:cubicBezTo>
                  <a:pt x="0" y="246010"/>
                  <a:pt x="12" y="247578"/>
                  <a:pt x="49" y="249158"/>
                </a:cubicBezTo>
                <a:cubicBezTo>
                  <a:pt x="73" y="250568"/>
                  <a:pt x="109" y="251954"/>
                  <a:pt x="158" y="253340"/>
                </a:cubicBezTo>
                <a:cubicBezTo>
                  <a:pt x="170" y="253887"/>
                  <a:pt x="194" y="254434"/>
                  <a:pt x="219" y="254969"/>
                </a:cubicBezTo>
                <a:cubicBezTo>
                  <a:pt x="231" y="255540"/>
                  <a:pt x="255" y="256136"/>
                  <a:pt x="292" y="256707"/>
                </a:cubicBezTo>
                <a:cubicBezTo>
                  <a:pt x="328" y="257631"/>
                  <a:pt x="377" y="258542"/>
                  <a:pt x="450" y="259466"/>
                </a:cubicBezTo>
                <a:cubicBezTo>
                  <a:pt x="450" y="259539"/>
                  <a:pt x="450" y="259636"/>
                  <a:pt x="462" y="259721"/>
                </a:cubicBezTo>
                <a:cubicBezTo>
                  <a:pt x="632" y="262444"/>
                  <a:pt x="851" y="265155"/>
                  <a:pt x="1094" y="267853"/>
                </a:cubicBezTo>
                <a:cubicBezTo>
                  <a:pt x="1203" y="269044"/>
                  <a:pt x="1325" y="270224"/>
                  <a:pt x="1459" y="271415"/>
                </a:cubicBezTo>
                <a:cubicBezTo>
                  <a:pt x="1544" y="272278"/>
                  <a:pt x="1641" y="273141"/>
                  <a:pt x="1750" y="273992"/>
                </a:cubicBezTo>
                <a:cubicBezTo>
                  <a:pt x="1884" y="275146"/>
                  <a:pt x="2030" y="276289"/>
                  <a:pt x="2188" y="277444"/>
                </a:cubicBezTo>
                <a:cubicBezTo>
                  <a:pt x="2346" y="278574"/>
                  <a:pt x="2504" y="279717"/>
                  <a:pt x="2674" y="280835"/>
                </a:cubicBezTo>
                <a:cubicBezTo>
                  <a:pt x="2929" y="282610"/>
                  <a:pt x="3221" y="284372"/>
                  <a:pt x="3525" y="286135"/>
                </a:cubicBezTo>
                <a:cubicBezTo>
                  <a:pt x="3780" y="287642"/>
                  <a:pt x="4048" y="289149"/>
                  <a:pt x="4339" y="290644"/>
                </a:cubicBezTo>
                <a:cubicBezTo>
                  <a:pt x="4607" y="292018"/>
                  <a:pt x="4874" y="293404"/>
                  <a:pt x="5166" y="294777"/>
                </a:cubicBezTo>
                <a:cubicBezTo>
                  <a:pt x="5202" y="295020"/>
                  <a:pt x="5263" y="295275"/>
                  <a:pt x="5324" y="295531"/>
                </a:cubicBezTo>
                <a:cubicBezTo>
                  <a:pt x="5579" y="296698"/>
                  <a:pt x="5835" y="297852"/>
                  <a:pt x="6090" y="299007"/>
                </a:cubicBezTo>
                <a:cubicBezTo>
                  <a:pt x="6479" y="300685"/>
                  <a:pt x="6868" y="302338"/>
                  <a:pt x="7281" y="303991"/>
                </a:cubicBezTo>
                <a:cubicBezTo>
                  <a:pt x="7646" y="305462"/>
                  <a:pt x="8035" y="306908"/>
                  <a:pt x="8436" y="308367"/>
                </a:cubicBezTo>
                <a:cubicBezTo>
                  <a:pt x="8837" y="309825"/>
                  <a:pt x="9238" y="311272"/>
                  <a:pt x="9651" y="312718"/>
                </a:cubicBezTo>
                <a:cubicBezTo>
                  <a:pt x="10077" y="314165"/>
                  <a:pt x="10502" y="315599"/>
                  <a:pt x="10952" y="317033"/>
                </a:cubicBezTo>
                <a:cubicBezTo>
                  <a:pt x="11256" y="318030"/>
                  <a:pt x="11572" y="319027"/>
                  <a:pt x="11900" y="320011"/>
                </a:cubicBezTo>
                <a:cubicBezTo>
                  <a:pt x="12228" y="320996"/>
                  <a:pt x="12556" y="321993"/>
                  <a:pt x="12885" y="322977"/>
                </a:cubicBezTo>
                <a:cubicBezTo>
                  <a:pt x="13213" y="323962"/>
                  <a:pt x="13565" y="324946"/>
                  <a:pt x="13906" y="325919"/>
                </a:cubicBezTo>
                <a:cubicBezTo>
                  <a:pt x="14246" y="326903"/>
                  <a:pt x="14611" y="327876"/>
                  <a:pt x="14963" y="328836"/>
                </a:cubicBezTo>
                <a:cubicBezTo>
                  <a:pt x="15303" y="329821"/>
                  <a:pt x="15680" y="330781"/>
                  <a:pt x="16045" y="331741"/>
                </a:cubicBezTo>
                <a:cubicBezTo>
                  <a:pt x="16434" y="332738"/>
                  <a:pt x="16811" y="333723"/>
                  <a:pt x="17212" y="334707"/>
                </a:cubicBezTo>
                <a:cubicBezTo>
                  <a:pt x="17564" y="335619"/>
                  <a:pt x="17941" y="336518"/>
                  <a:pt x="18306" y="337430"/>
                </a:cubicBezTo>
                <a:cubicBezTo>
                  <a:pt x="18342" y="337527"/>
                  <a:pt x="18379" y="337637"/>
                  <a:pt x="18440" y="337734"/>
                </a:cubicBezTo>
                <a:cubicBezTo>
                  <a:pt x="18804" y="338609"/>
                  <a:pt x="19181" y="339484"/>
                  <a:pt x="19546" y="340359"/>
                </a:cubicBezTo>
                <a:cubicBezTo>
                  <a:pt x="20336" y="342195"/>
                  <a:pt x="21138" y="344030"/>
                  <a:pt x="21977" y="345853"/>
                </a:cubicBezTo>
                <a:cubicBezTo>
                  <a:pt x="22791" y="347665"/>
                  <a:pt x="23654" y="349476"/>
                  <a:pt x="24529" y="351275"/>
                </a:cubicBezTo>
                <a:cubicBezTo>
                  <a:pt x="24967" y="352186"/>
                  <a:pt x="25404" y="353074"/>
                  <a:pt x="25854" y="353973"/>
                </a:cubicBezTo>
                <a:cubicBezTo>
                  <a:pt x="26304" y="354848"/>
                  <a:pt x="26754" y="355748"/>
                  <a:pt x="27216" y="356623"/>
                </a:cubicBezTo>
                <a:cubicBezTo>
                  <a:pt x="27617" y="357413"/>
                  <a:pt x="28018" y="358179"/>
                  <a:pt x="28443" y="358957"/>
                </a:cubicBezTo>
                <a:cubicBezTo>
                  <a:pt x="28954" y="359941"/>
                  <a:pt x="29489" y="360926"/>
                  <a:pt x="30023" y="361911"/>
                </a:cubicBezTo>
                <a:cubicBezTo>
                  <a:pt x="30801" y="363333"/>
                  <a:pt x="31591" y="364731"/>
                  <a:pt x="32406" y="366141"/>
                </a:cubicBezTo>
                <a:cubicBezTo>
                  <a:pt x="32819" y="366870"/>
                  <a:pt x="33220" y="367587"/>
                  <a:pt x="33658" y="368292"/>
                </a:cubicBezTo>
                <a:cubicBezTo>
                  <a:pt x="34278" y="369362"/>
                  <a:pt x="34922" y="370419"/>
                  <a:pt x="35578" y="371489"/>
                </a:cubicBezTo>
                <a:cubicBezTo>
                  <a:pt x="36454" y="372960"/>
                  <a:pt x="37365" y="374394"/>
                  <a:pt x="38289" y="375828"/>
                </a:cubicBezTo>
                <a:cubicBezTo>
                  <a:pt x="39116" y="377141"/>
                  <a:pt x="39979" y="378442"/>
                  <a:pt x="40842" y="379742"/>
                </a:cubicBezTo>
                <a:cubicBezTo>
                  <a:pt x="41352" y="380508"/>
                  <a:pt x="41863" y="381274"/>
                  <a:pt x="42385" y="382028"/>
                </a:cubicBezTo>
                <a:cubicBezTo>
                  <a:pt x="42531" y="382246"/>
                  <a:pt x="42665" y="382465"/>
                  <a:pt x="42823" y="382660"/>
                </a:cubicBezTo>
                <a:cubicBezTo>
                  <a:pt x="43589" y="383766"/>
                  <a:pt x="44355" y="384884"/>
                  <a:pt x="45145" y="385978"/>
                </a:cubicBezTo>
                <a:cubicBezTo>
                  <a:pt x="46226" y="387510"/>
                  <a:pt x="47333" y="389029"/>
                  <a:pt x="48463" y="390536"/>
                </a:cubicBezTo>
                <a:cubicBezTo>
                  <a:pt x="49132" y="391411"/>
                  <a:pt x="49788" y="392299"/>
                  <a:pt x="50469" y="393162"/>
                </a:cubicBezTo>
                <a:cubicBezTo>
                  <a:pt x="50858" y="393684"/>
                  <a:pt x="51247" y="394195"/>
                  <a:pt x="51648" y="394705"/>
                </a:cubicBezTo>
                <a:cubicBezTo>
                  <a:pt x="52134" y="395313"/>
                  <a:pt x="52608" y="395921"/>
                  <a:pt x="53094" y="396517"/>
                </a:cubicBezTo>
                <a:cubicBezTo>
                  <a:pt x="54322" y="398072"/>
                  <a:pt x="55574" y="399604"/>
                  <a:pt x="56850" y="401123"/>
                </a:cubicBezTo>
                <a:cubicBezTo>
                  <a:pt x="57470" y="401877"/>
                  <a:pt x="58114" y="402631"/>
                  <a:pt x="58771" y="403384"/>
                </a:cubicBezTo>
                <a:cubicBezTo>
                  <a:pt x="59719" y="404490"/>
                  <a:pt x="60691" y="405597"/>
                  <a:pt x="61651" y="406691"/>
                </a:cubicBezTo>
                <a:cubicBezTo>
                  <a:pt x="62320" y="407444"/>
                  <a:pt x="62989" y="408198"/>
                  <a:pt x="63669" y="408939"/>
                </a:cubicBezTo>
                <a:cubicBezTo>
                  <a:pt x="64423" y="409766"/>
                  <a:pt x="65176" y="410580"/>
                  <a:pt x="65954" y="411407"/>
                </a:cubicBezTo>
                <a:cubicBezTo>
                  <a:pt x="66927" y="412464"/>
                  <a:pt x="67936" y="413510"/>
                  <a:pt x="68945" y="414543"/>
                </a:cubicBezTo>
                <a:cubicBezTo>
                  <a:pt x="69552" y="415187"/>
                  <a:pt x="70184" y="415819"/>
                  <a:pt x="70817" y="416463"/>
                </a:cubicBezTo>
                <a:cubicBezTo>
                  <a:pt x="71509" y="417168"/>
                  <a:pt x="72202" y="417861"/>
                  <a:pt x="72907" y="418554"/>
                </a:cubicBezTo>
                <a:cubicBezTo>
                  <a:pt x="74086" y="419709"/>
                  <a:pt x="75253" y="420851"/>
                  <a:pt x="76457" y="421970"/>
                </a:cubicBezTo>
                <a:cubicBezTo>
                  <a:pt x="77271" y="422748"/>
                  <a:pt x="78085" y="423513"/>
                  <a:pt x="78924" y="424255"/>
                </a:cubicBezTo>
                <a:cubicBezTo>
                  <a:pt x="79629" y="424923"/>
                  <a:pt x="80346" y="425568"/>
                  <a:pt x="81051" y="426212"/>
                </a:cubicBezTo>
                <a:cubicBezTo>
                  <a:pt x="82449" y="427488"/>
                  <a:pt x="83896" y="428740"/>
                  <a:pt x="85342" y="429980"/>
                </a:cubicBezTo>
                <a:cubicBezTo>
                  <a:pt x="86059" y="430588"/>
                  <a:pt x="86776" y="431208"/>
                  <a:pt x="87494" y="431803"/>
                </a:cubicBezTo>
                <a:cubicBezTo>
                  <a:pt x="87797" y="432071"/>
                  <a:pt x="88101" y="432326"/>
                  <a:pt x="88429" y="432581"/>
                </a:cubicBezTo>
                <a:cubicBezTo>
                  <a:pt x="89037" y="433104"/>
                  <a:pt x="89669" y="433614"/>
                  <a:pt x="90289" y="434113"/>
                </a:cubicBezTo>
                <a:cubicBezTo>
                  <a:pt x="91250" y="434891"/>
                  <a:pt x="92210" y="435657"/>
                  <a:pt x="93158" y="436422"/>
                </a:cubicBezTo>
                <a:cubicBezTo>
                  <a:pt x="95516" y="438282"/>
                  <a:pt x="97923" y="440093"/>
                  <a:pt x="100342" y="441868"/>
                </a:cubicBezTo>
                <a:cubicBezTo>
                  <a:pt x="102870" y="443715"/>
                  <a:pt x="105423" y="445514"/>
                  <a:pt x="108024" y="447265"/>
                </a:cubicBezTo>
                <a:cubicBezTo>
                  <a:pt x="109324" y="448128"/>
                  <a:pt x="110625" y="449003"/>
                  <a:pt x="111938" y="449842"/>
                </a:cubicBezTo>
                <a:cubicBezTo>
                  <a:pt x="113251" y="450693"/>
                  <a:pt x="114575" y="451543"/>
                  <a:pt x="115913" y="452358"/>
                </a:cubicBezTo>
                <a:cubicBezTo>
                  <a:pt x="117250" y="453184"/>
                  <a:pt x="118599" y="453999"/>
                  <a:pt x="119948" y="454813"/>
                </a:cubicBezTo>
                <a:cubicBezTo>
                  <a:pt x="121285" y="455603"/>
                  <a:pt x="122659" y="456393"/>
                  <a:pt x="124020" y="457171"/>
                </a:cubicBezTo>
                <a:cubicBezTo>
                  <a:pt x="125381" y="457949"/>
                  <a:pt x="126767" y="458703"/>
                  <a:pt x="128141" y="459457"/>
                </a:cubicBezTo>
                <a:cubicBezTo>
                  <a:pt x="129514" y="460210"/>
                  <a:pt x="130912" y="460952"/>
                  <a:pt x="132310" y="461669"/>
                </a:cubicBezTo>
                <a:cubicBezTo>
                  <a:pt x="133623" y="462349"/>
                  <a:pt x="134936" y="463018"/>
                  <a:pt x="136273" y="463662"/>
                </a:cubicBezTo>
                <a:cubicBezTo>
                  <a:pt x="136516" y="463808"/>
                  <a:pt x="136759" y="463917"/>
                  <a:pt x="137002" y="464015"/>
                </a:cubicBezTo>
                <a:cubicBezTo>
                  <a:pt x="138266" y="464659"/>
                  <a:pt x="139530" y="465255"/>
                  <a:pt x="140806" y="465850"/>
                </a:cubicBezTo>
                <a:cubicBezTo>
                  <a:pt x="142241" y="466519"/>
                  <a:pt x="143663" y="467175"/>
                  <a:pt x="145122" y="467819"/>
                </a:cubicBezTo>
                <a:cubicBezTo>
                  <a:pt x="146568" y="468476"/>
                  <a:pt x="148015" y="469096"/>
                  <a:pt x="149473" y="469703"/>
                </a:cubicBezTo>
                <a:cubicBezTo>
                  <a:pt x="150932" y="470323"/>
                  <a:pt x="152390" y="470931"/>
                  <a:pt x="153873" y="471515"/>
                </a:cubicBezTo>
                <a:cubicBezTo>
                  <a:pt x="155040" y="471989"/>
                  <a:pt x="156219" y="472450"/>
                  <a:pt x="157398" y="472876"/>
                </a:cubicBezTo>
                <a:cubicBezTo>
                  <a:pt x="157982" y="473107"/>
                  <a:pt x="158577" y="473326"/>
                  <a:pt x="159149" y="473544"/>
                </a:cubicBezTo>
                <a:cubicBezTo>
                  <a:pt x="160048" y="473873"/>
                  <a:pt x="160923" y="474201"/>
                  <a:pt x="161811" y="474517"/>
                </a:cubicBezTo>
                <a:cubicBezTo>
                  <a:pt x="162467" y="474760"/>
                  <a:pt x="163124" y="474991"/>
                  <a:pt x="163792" y="475222"/>
                </a:cubicBezTo>
                <a:cubicBezTo>
                  <a:pt x="166697" y="476243"/>
                  <a:pt x="169639" y="477215"/>
                  <a:pt x="172605" y="478115"/>
                </a:cubicBezTo>
                <a:cubicBezTo>
                  <a:pt x="173516" y="478394"/>
                  <a:pt x="174416" y="478662"/>
                  <a:pt x="175340" y="478929"/>
                </a:cubicBezTo>
                <a:cubicBezTo>
                  <a:pt x="176251" y="479197"/>
                  <a:pt x="177163" y="479464"/>
                  <a:pt x="178087" y="479719"/>
                </a:cubicBezTo>
                <a:cubicBezTo>
                  <a:pt x="182317" y="480911"/>
                  <a:pt x="186583" y="481992"/>
                  <a:pt x="190898" y="482953"/>
                </a:cubicBezTo>
                <a:cubicBezTo>
                  <a:pt x="193135" y="483451"/>
                  <a:pt x="195396" y="483925"/>
                  <a:pt x="197644" y="484375"/>
                </a:cubicBezTo>
                <a:cubicBezTo>
                  <a:pt x="200027" y="484837"/>
                  <a:pt x="202434" y="485250"/>
                  <a:pt x="204840" y="485651"/>
                </a:cubicBezTo>
                <a:cubicBezTo>
                  <a:pt x="205643" y="485797"/>
                  <a:pt x="206457" y="485906"/>
                  <a:pt x="207271" y="486028"/>
                </a:cubicBezTo>
                <a:cubicBezTo>
                  <a:pt x="208876" y="486271"/>
                  <a:pt x="210505" y="486502"/>
                  <a:pt x="212121" y="486721"/>
                </a:cubicBezTo>
                <a:cubicBezTo>
                  <a:pt x="213750" y="486940"/>
                  <a:pt x="215379" y="487146"/>
                  <a:pt x="217008" y="487316"/>
                </a:cubicBezTo>
                <a:cubicBezTo>
                  <a:pt x="217834" y="487401"/>
                  <a:pt x="218649" y="487499"/>
                  <a:pt x="219475" y="487572"/>
                </a:cubicBezTo>
                <a:cubicBezTo>
                  <a:pt x="221323" y="487766"/>
                  <a:pt x="223183" y="487924"/>
                  <a:pt x="225042" y="488082"/>
                </a:cubicBezTo>
                <a:cubicBezTo>
                  <a:pt x="226489" y="488192"/>
                  <a:pt x="227923" y="488289"/>
                  <a:pt x="229370" y="488374"/>
                </a:cubicBezTo>
                <a:cubicBezTo>
                  <a:pt x="230196" y="488423"/>
                  <a:pt x="231035" y="488471"/>
                  <a:pt x="231862" y="488520"/>
                </a:cubicBezTo>
                <a:cubicBezTo>
                  <a:pt x="232518" y="488556"/>
                  <a:pt x="233162" y="488581"/>
                  <a:pt x="233831" y="488605"/>
                </a:cubicBezTo>
                <a:cubicBezTo>
                  <a:pt x="234365" y="488629"/>
                  <a:pt x="234912" y="488653"/>
                  <a:pt x="235447" y="488666"/>
                </a:cubicBezTo>
                <a:cubicBezTo>
                  <a:pt x="236444" y="488702"/>
                  <a:pt x="237441" y="488739"/>
                  <a:pt x="238425" y="488751"/>
                </a:cubicBezTo>
                <a:cubicBezTo>
                  <a:pt x="239033" y="488775"/>
                  <a:pt x="239641" y="488775"/>
                  <a:pt x="240237" y="488787"/>
                </a:cubicBezTo>
                <a:cubicBezTo>
                  <a:pt x="240783" y="488799"/>
                  <a:pt x="241330" y="488811"/>
                  <a:pt x="241877" y="488811"/>
                </a:cubicBezTo>
                <a:cubicBezTo>
                  <a:pt x="242716" y="488824"/>
                  <a:pt x="243567" y="488824"/>
                  <a:pt x="244406" y="488824"/>
                </a:cubicBezTo>
                <a:cubicBezTo>
                  <a:pt x="245378" y="488824"/>
                  <a:pt x="246351" y="488824"/>
                  <a:pt x="247311" y="488811"/>
                </a:cubicBezTo>
                <a:cubicBezTo>
                  <a:pt x="248271" y="488799"/>
                  <a:pt x="249256" y="488787"/>
                  <a:pt x="250216" y="488751"/>
                </a:cubicBezTo>
                <a:cubicBezTo>
                  <a:pt x="251188" y="488726"/>
                  <a:pt x="252149" y="488702"/>
                  <a:pt x="253109" y="488666"/>
                </a:cubicBezTo>
                <a:cubicBezTo>
                  <a:pt x="254033" y="488641"/>
                  <a:pt x="254944" y="488605"/>
                  <a:pt x="255868" y="488556"/>
                </a:cubicBezTo>
                <a:lnTo>
                  <a:pt x="255977" y="488556"/>
                </a:lnTo>
                <a:cubicBezTo>
                  <a:pt x="283327" y="487280"/>
                  <a:pt x="309497" y="481494"/>
                  <a:pt x="333771" y="471952"/>
                </a:cubicBezTo>
                <a:cubicBezTo>
                  <a:pt x="334756" y="471575"/>
                  <a:pt x="335740" y="471174"/>
                  <a:pt x="336713" y="470761"/>
                </a:cubicBezTo>
                <a:cubicBezTo>
                  <a:pt x="337515" y="470445"/>
                  <a:pt x="338305" y="470105"/>
                  <a:pt x="339083" y="469776"/>
                </a:cubicBezTo>
                <a:cubicBezTo>
                  <a:pt x="344079" y="467686"/>
                  <a:pt x="348977" y="465425"/>
                  <a:pt x="353791" y="463006"/>
                </a:cubicBezTo>
                <a:cubicBezTo>
                  <a:pt x="354715" y="462544"/>
                  <a:pt x="355638" y="462070"/>
                  <a:pt x="356562" y="461584"/>
                </a:cubicBezTo>
                <a:cubicBezTo>
                  <a:pt x="357498" y="461110"/>
                  <a:pt x="358410" y="460623"/>
                  <a:pt x="359322" y="460137"/>
                </a:cubicBezTo>
                <a:cubicBezTo>
                  <a:pt x="360245" y="459639"/>
                  <a:pt x="361157" y="459153"/>
                  <a:pt x="362069" y="458654"/>
                </a:cubicBezTo>
                <a:cubicBezTo>
                  <a:pt x="362591" y="458363"/>
                  <a:pt x="363102" y="458071"/>
                  <a:pt x="363624" y="457791"/>
                </a:cubicBezTo>
                <a:cubicBezTo>
                  <a:pt x="364378" y="457366"/>
                  <a:pt x="365144" y="456953"/>
                  <a:pt x="365885" y="456503"/>
                </a:cubicBezTo>
                <a:cubicBezTo>
                  <a:pt x="368207" y="455178"/>
                  <a:pt x="370517" y="453792"/>
                  <a:pt x="372802" y="452382"/>
                </a:cubicBezTo>
                <a:cubicBezTo>
                  <a:pt x="373677" y="451835"/>
                  <a:pt x="374564" y="451288"/>
                  <a:pt x="375427" y="450741"/>
                </a:cubicBezTo>
                <a:cubicBezTo>
                  <a:pt x="377178" y="449635"/>
                  <a:pt x="378904" y="448505"/>
                  <a:pt x="380605" y="447350"/>
                </a:cubicBezTo>
                <a:cubicBezTo>
                  <a:pt x="381468" y="446779"/>
                  <a:pt x="382319" y="446183"/>
                  <a:pt x="383170" y="445599"/>
                </a:cubicBezTo>
                <a:cubicBezTo>
                  <a:pt x="384872" y="444420"/>
                  <a:pt x="386549" y="443241"/>
                  <a:pt x="388227" y="442014"/>
                </a:cubicBezTo>
                <a:cubicBezTo>
                  <a:pt x="388980" y="441467"/>
                  <a:pt x="389746" y="440908"/>
                  <a:pt x="390500" y="440324"/>
                </a:cubicBezTo>
                <a:cubicBezTo>
                  <a:pt x="393186" y="438331"/>
                  <a:pt x="395824" y="436276"/>
                  <a:pt x="398401" y="434174"/>
                </a:cubicBezTo>
                <a:cubicBezTo>
                  <a:pt x="399884" y="432970"/>
                  <a:pt x="401342" y="431767"/>
                  <a:pt x="402789" y="430527"/>
                </a:cubicBezTo>
                <a:cubicBezTo>
                  <a:pt x="403567" y="429859"/>
                  <a:pt x="404345" y="429190"/>
                  <a:pt x="405123" y="428509"/>
                </a:cubicBezTo>
                <a:cubicBezTo>
                  <a:pt x="407456" y="426491"/>
                  <a:pt x="409741" y="424413"/>
                  <a:pt x="411990" y="422286"/>
                </a:cubicBezTo>
                <a:cubicBezTo>
                  <a:pt x="412744" y="421581"/>
                  <a:pt x="413485" y="420864"/>
                  <a:pt x="414227" y="420159"/>
                </a:cubicBezTo>
                <a:cubicBezTo>
                  <a:pt x="414968" y="419441"/>
                  <a:pt x="415710" y="418724"/>
                  <a:pt x="416439" y="418007"/>
                </a:cubicBezTo>
                <a:cubicBezTo>
                  <a:pt x="417144" y="417314"/>
                  <a:pt x="417825" y="416621"/>
                  <a:pt x="418518" y="415916"/>
                </a:cubicBezTo>
                <a:cubicBezTo>
                  <a:pt x="419210" y="415224"/>
                  <a:pt x="419891" y="414506"/>
                  <a:pt x="420572" y="413814"/>
                </a:cubicBezTo>
                <a:cubicBezTo>
                  <a:pt x="421945" y="412391"/>
                  <a:pt x="423295" y="410969"/>
                  <a:pt x="424607" y="409511"/>
                </a:cubicBezTo>
                <a:cubicBezTo>
                  <a:pt x="425252" y="408818"/>
                  <a:pt x="425884" y="408125"/>
                  <a:pt x="426528" y="407420"/>
                </a:cubicBezTo>
                <a:cubicBezTo>
                  <a:pt x="427209" y="406654"/>
                  <a:pt x="427877" y="405888"/>
                  <a:pt x="428558" y="405123"/>
                </a:cubicBezTo>
                <a:cubicBezTo>
                  <a:pt x="429141" y="404442"/>
                  <a:pt x="429725" y="403773"/>
                  <a:pt x="430308" y="403093"/>
                </a:cubicBezTo>
                <a:cubicBezTo>
                  <a:pt x="430393" y="402995"/>
                  <a:pt x="430478" y="402886"/>
                  <a:pt x="430563" y="402789"/>
                </a:cubicBezTo>
                <a:cubicBezTo>
                  <a:pt x="431815" y="401318"/>
                  <a:pt x="433043" y="399847"/>
                  <a:pt x="434247" y="398364"/>
                </a:cubicBezTo>
                <a:cubicBezTo>
                  <a:pt x="434866" y="397598"/>
                  <a:pt x="435474" y="396833"/>
                  <a:pt x="436082" y="396067"/>
                </a:cubicBezTo>
                <a:cubicBezTo>
                  <a:pt x="436082" y="396067"/>
                  <a:pt x="436094" y="396058"/>
                  <a:pt x="436106" y="396043"/>
                </a:cubicBezTo>
                <a:cubicBezTo>
                  <a:pt x="436702" y="395277"/>
                  <a:pt x="437322" y="394511"/>
                  <a:pt x="437905" y="393733"/>
                </a:cubicBezTo>
                <a:cubicBezTo>
                  <a:pt x="438513" y="392955"/>
                  <a:pt x="439109" y="392177"/>
                  <a:pt x="439704" y="391387"/>
                </a:cubicBezTo>
                <a:cubicBezTo>
                  <a:pt x="440288" y="390597"/>
                  <a:pt x="440883" y="389819"/>
                  <a:pt x="441467" y="389017"/>
                </a:cubicBezTo>
                <a:cubicBezTo>
                  <a:pt x="442050" y="388227"/>
                  <a:pt x="442634" y="387437"/>
                  <a:pt x="443205" y="386634"/>
                </a:cubicBezTo>
                <a:cubicBezTo>
                  <a:pt x="443776" y="385832"/>
                  <a:pt x="444347" y="385030"/>
                  <a:pt x="444919" y="384228"/>
                </a:cubicBezTo>
                <a:cubicBezTo>
                  <a:pt x="445490" y="383413"/>
                  <a:pt x="446049" y="382611"/>
                  <a:pt x="446596" y="381784"/>
                </a:cubicBezTo>
                <a:cubicBezTo>
                  <a:pt x="447155" y="380970"/>
                  <a:pt x="447702" y="380156"/>
                  <a:pt x="448262" y="379329"/>
                </a:cubicBezTo>
                <a:cubicBezTo>
                  <a:pt x="450486" y="375962"/>
                  <a:pt x="452625" y="372546"/>
                  <a:pt x="454692" y="369082"/>
                </a:cubicBezTo>
                <a:cubicBezTo>
                  <a:pt x="455154" y="368304"/>
                  <a:pt x="455615" y="367526"/>
                  <a:pt x="456053" y="366736"/>
                </a:cubicBezTo>
                <a:cubicBezTo>
                  <a:pt x="457086" y="364962"/>
                  <a:pt x="458095" y="363175"/>
                  <a:pt x="459080" y="361376"/>
                </a:cubicBezTo>
                <a:cubicBezTo>
                  <a:pt x="459517" y="360574"/>
                  <a:pt x="459943" y="359759"/>
                  <a:pt x="460380" y="358945"/>
                </a:cubicBezTo>
                <a:cubicBezTo>
                  <a:pt x="461316" y="357194"/>
                  <a:pt x="462216" y="355420"/>
                  <a:pt x="463115" y="353645"/>
                </a:cubicBezTo>
                <a:cubicBezTo>
                  <a:pt x="463553" y="352794"/>
                  <a:pt x="463966" y="351919"/>
                  <a:pt x="464391" y="351056"/>
                </a:cubicBezTo>
                <a:cubicBezTo>
                  <a:pt x="464428" y="350971"/>
                  <a:pt x="464464" y="350886"/>
                  <a:pt x="464501" y="350813"/>
                </a:cubicBezTo>
                <a:cubicBezTo>
                  <a:pt x="464914" y="349974"/>
                  <a:pt x="465315" y="349123"/>
                  <a:pt x="465717" y="348285"/>
                </a:cubicBezTo>
                <a:cubicBezTo>
                  <a:pt x="466142" y="347373"/>
                  <a:pt x="466555" y="346486"/>
                  <a:pt x="466969" y="345574"/>
                </a:cubicBezTo>
                <a:cubicBezTo>
                  <a:pt x="467382" y="344662"/>
                  <a:pt x="467783" y="343775"/>
                  <a:pt x="468184" y="342863"/>
                </a:cubicBezTo>
                <a:cubicBezTo>
                  <a:pt x="468196" y="342839"/>
                  <a:pt x="468208" y="342802"/>
                  <a:pt x="468220" y="342778"/>
                </a:cubicBezTo>
                <a:cubicBezTo>
                  <a:pt x="469011" y="340979"/>
                  <a:pt x="469776" y="339168"/>
                  <a:pt x="470530" y="337345"/>
                </a:cubicBezTo>
                <a:cubicBezTo>
                  <a:pt x="471308" y="335497"/>
                  <a:pt x="472037" y="333637"/>
                  <a:pt x="472754" y="331766"/>
                </a:cubicBezTo>
                <a:cubicBezTo>
                  <a:pt x="473107" y="330830"/>
                  <a:pt x="473459" y="329894"/>
                  <a:pt x="473800" y="328958"/>
                </a:cubicBezTo>
                <a:cubicBezTo>
                  <a:pt x="474152" y="328010"/>
                  <a:pt x="474493" y="327074"/>
                  <a:pt x="474821" y="326126"/>
                </a:cubicBezTo>
                <a:cubicBezTo>
                  <a:pt x="475161" y="325177"/>
                  <a:pt x="475501" y="324241"/>
                  <a:pt x="475817" y="323281"/>
                </a:cubicBezTo>
                <a:cubicBezTo>
                  <a:pt x="476024" y="322698"/>
                  <a:pt x="476219" y="322102"/>
                  <a:pt x="476401" y="321519"/>
                </a:cubicBezTo>
                <a:cubicBezTo>
                  <a:pt x="476693" y="320692"/>
                  <a:pt x="476960" y="319853"/>
                  <a:pt x="477215" y="319027"/>
                </a:cubicBezTo>
                <a:cubicBezTo>
                  <a:pt x="477507" y="318091"/>
                  <a:pt x="477799" y="317167"/>
                  <a:pt x="478078" y="316231"/>
                </a:cubicBezTo>
                <a:cubicBezTo>
                  <a:pt x="478504" y="314918"/>
                  <a:pt x="478881" y="313618"/>
                  <a:pt x="479257" y="312293"/>
                </a:cubicBezTo>
                <a:cubicBezTo>
                  <a:pt x="479355" y="311965"/>
                  <a:pt x="479452" y="311624"/>
                  <a:pt x="479549" y="311284"/>
                </a:cubicBezTo>
                <a:cubicBezTo>
                  <a:pt x="479780" y="310470"/>
                  <a:pt x="480011" y="309655"/>
                  <a:pt x="480230" y="308816"/>
                </a:cubicBezTo>
                <a:cubicBezTo>
                  <a:pt x="480777" y="306859"/>
                  <a:pt x="481287" y="304902"/>
                  <a:pt x="481761" y="302933"/>
                </a:cubicBezTo>
                <a:cubicBezTo>
                  <a:pt x="482248" y="300964"/>
                  <a:pt x="482710" y="298995"/>
                  <a:pt x="483135" y="297001"/>
                </a:cubicBezTo>
                <a:cubicBezTo>
                  <a:pt x="483354" y="296005"/>
                  <a:pt x="483573" y="295008"/>
                  <a:pt x="483779" y="293999"/>
                </a:cubicBezTo>
                <a:cubicBezTo>
                  <a:pt x="483986" y="293002"/>
                  <a:pt x="484180" y="291994"/>
                  <a:pt x="484375" y="290997"/>
                </a:cubicBezTo>
                <a:cubicBezTo>
                  <a:pt x="484569" y="289988"/>
                  <a:pt x="484740" y="288979"/>
                  <a:pt x="484934" y="287970"/>
                </a:cubicBezTo>
                <a:cubicBezTo>
                  <a:pt x="485116" y="286961"/>
                  <a:pt x="485274" y="285952"/>
                  <a:pt x="485457" y="284944"/>
                </a:cubicBezTo>
                <a:cubicBezTo>
                  <a:pt x="485797" y="282914"/>
                  <a:pt x="486125" y="280884"/>
                  <a:pt x="486393" y="278842"/>
                </a:cubicBezTo>
                <a:cubicBezTo>
                  <a:pt x="486538" y="277821"/>
                  <a:pt x="486672" y="276799"/>
                  <a:pt x="486806" y="275766"/>
                </a:cubicBezTo>
                <a:cubicBezTo>
                  <a:pt x="487085" y="273724"/>
                  <a:pt x="487316" y="271670"/>
                  <a:pt x="487523" y="269604"/>
                </a:cubicBezTo>
                <a:cubicBezTo>
                  <a:pt x="487620" y="268570"/>
                  <a:pt x="487730" y="267537"/>
                  <a:pt x="487815" y="266504"/>
                </a:cubicBezTo>
                <a:cubicBezTo>
                  <a:pt x="488009" y="264571"/>
                  <a:pt x="488143" y="262639"/>
                  <a:pt x="488277" y="260694"/>
                </a:cubicBezTo>
                <a:cubicBezTo>
                  <a:pt x="488277" y="260499"/>
                  <a:pt x="488289" y="260329"/>
                  <a:pt x="488301" y="260147"/>
                </a:cubicBezTo>
                <a:cubicBezTo>
                  <a:pt x="488362" y="259272"/>
                  <a:pt x="488410" y="258396"/>
                  <a:pt x="488459" y="257521"/>
                </a:cubicBezTo>
                <a:cubicBezTo>
                  <a:pt x="488483" y="257047"/>
                  <a:pt x="488508" y="256561"/>
                  <a:pt x="488532" y="256087"/>
                </a:cubicBezTo>
                <a:cubicBezTo>
                  <a:pt x="488556" y="255382"/>
                  <a:pt x="488593" y="254677"/>
                  <a:pt x="488617" y="253972"/>
                </a:cubicBezTo>
                <a:cubicBezTo>
                  <a:pt x="488653" y="252781"/>
                  <a:pt x="488690" y="251589"/>
                  <a:pt x="488726" y="250386"/>
                </a:cubicBezTo>
                <a:cubicBezTo>
                  <a:pt x="488738" y="249474"/>
                  <a:pt x="488763" y="248563"/>
                  <a:pt x="488763" y="247651"/>
                </a:cubicBezTo>
                <a:cubicBezTo>
                  <a:pt x="488787" y="246594"/>
                  <a:pt x="488799" y="245536"/>
                  <a:pt x="488799" y="244479"/>
                </a:cubicBezTo>
                <a:cubicBezTo>
                  <a:pt x="488799" y="243421"/>
                  <a:pt x="488787" y="242364"/>
                  <a:pt x="488763" y="241306"/>
                </a:cubicBezTo>
                <a:cubicBezTo>
                  <a:pt x="488763" y="240394"/>
                  <a:pt x="488738" y="239483"/>
                  <a:pt x="488726" y="238571"/>
                </a:cubicBezTo>
                <a:close/>
                <a:moveTo>
                  <a:pt x="379426" y="146823"/>
                </a:moveTo>
                <a:cubicBezTo>
                  <a:pt x="377530" y="148391"/>
                  <a:pt x="375196" y="149157"/>
                  <a:pt x="372911" y="149157"/>
                </a:cubicBezTo>
                <a:cubicBezTo>
                  <a:pt x="369933" y="149157"/>
                  <a:pt x="367004" y="147881"/>
                  <a:pt x="364962" y="145401"/>
                </a:cubicBezTo>
                <a:cubicBezTo>
                  <a:pt x="355809" y="134267"/>
                  <a:pt x="345306" y="124604"/>
                  <a:pt x="333808" y="116545"/>
                </a:cubicBezTo>
                <a:cubicBezTo>
                  <a:pt x="310992" y="100573"/>
                  <a:pt x="284214" y="90958"/>
                  <a:pt x="256026" y="88867"/>
                </a:cubicBezTo>
                <a:cubicBezTo>
                  <a:pt x="252185" y="88575"/>
                  <a:pt x="248320" y="88417"/>
                  <a:pt x="244418" y="88417"/>
                </a:cubicBezTo>
                <a:cubicBezTo>
                  <a:pt x="238754" y="88417"/>
                  <a:pt x="234159" y="83823"/>
                  <a:pt x="234159" y="78146"/>
                </a:cubicBezTo>
                <a:cubicBezTo>
                  <a:pt x="234159" y="72470"/>
                  <a:pt x="238754" y="67887"/>
                  <a:pt x="244418" y="67887"/>
                </a:cubicBezTo>
                <a:cubicBezTo>
                  <a:pt x="248308" y="67887"/>
                  <a:pt x="252173" y="68033"/>
                  <a:pt x="256026" y="68264"/>
                </a:cubicBezTo>
                <a:cubicBezTo>
                  <a:pt x="283764" y="70075"/>
                  <a:pt x="310312" y="78341"/>
                  <a:pt x="333808" y="92137"/>
                </a:cubicBezTo>
                <a:cubicBezTo>
                  <a:pt x="351481" y="102530"/>
                  <a:pt x="367429" y="116058"/>
                  <a:pt x="380848" y="132359"/>
                </a:cubicBezTo>
                <a:cubicBezTo>
                  <a:pt x="384446" y="136734"/>
                  <a:pt x="383826" y="143213"/>
                  <a:pt x="379426" y="146823"/>
                </a:cubicBezTo>
                <a:close/>
                <a:moveTo>
                  <a:pt x="410690" y="254689"/>
                </a:moveTo>
                <a:cubicBezTo>
                  <a:pt x="405025" y="254689"/>
                  <a:pt x="400419" y="250094"/>
                  <a:pt x="400419" y="244418"/>
                </a:cubicBezTo>
                <a:cubicBezTo>
                  <a:pt x="400419" y="225213"/>
                  <a:pt x="396966" y="206445"/>
                  <a:pt x="390172" y="188674"/>
                </a:cubicBezTo>
                <a:cubicBezTo>
                  <a:pt x="388142" y="183374"/>
                  <a:pt x="390791" y="177430"/>
                  <a:pt x="396091" y="175400"/>
                </a:cubicBezTo>
                <a:cubicBezTo>
                  <a:pt x="401391" y="173383"/>
                  <a:pt x="407335" y="176020"/>
                  <a:pt x="409353" y="181320"/>
                </a:cubicBezTo>
                <a:cubicBezTo>
                  <a:pt x="417059" y="201449"/>
                  <a:pt x="420973" y="222672"/>
                  <a:pt x="420973" y="244418"/>
                </a:cubicBezTo>
                <a:cubicBezTo>
                  <a:pt x="420973" y="250094"/>
                  <a:pt x="416378" y="254689"/>
                  <a:pt x="410702" y="254689"/>
                </a:cubicBezTo>
                <a:close/>
              </a:path>
            </a:pathLst>
          </a:custGeom>
          <a:solidFill>
            <a:srgbClr val="71DA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 name="Freeform: Shape 20">
            <a:extLst>
              <a:ext uri="{FF2B5EF4-FFF2-40B4-BE49-F238E27FC236}">
                <a16:creationId xmlns:a16="http://schemas.microsoft.com/office/drawing/2014/main" id="{2BC803E3-8D27-8E58-C77E-99DACC6753E6}"/>
              </a:ext>
            </a:extLst>
          </p:cNvPr>
          <p:cNvSpPr/>
          <p:nvPr/>
        </p:nvSpPr>
        <p:spPr>
          <a:xfrm>
            <a:off x="11489246" y="2198203"/>
            <a:ext cx="86454" cy="297255"/>
          </a:xfrm>
          <a:custGeom>
            <a:avLst/>
            <a:gdLst>
              <a:gd name="connsiteX0" fmla="*/ 167598 w 178758"/>
              <a:gd name="connsiteY0" fmla="*/ 410933 h 427767"/>
              <a:gd name="connsiteX1" fmla="*/ 138304 w 178758"/>
              <a:gd name="connsiteY1" fmla="*/ 427257 h 427767"/>
              <a:gd name="connsiteX2" fmla="*/ 131375 w 178758"/>
              <a:gd name="connsiteY2" fmla="*/ 427768 h 427767"/>
              <a:gd name="connsiteX3" fmla="*/ 47394 w 178758"/>
              <a:gd name="connsiteY3" fmla="*/ 427768 h 427767"/>
              <a:gd name="connsiteX4" fmla="*/ 13 w 178758"/>
              <a:gd name="connsiteY4" fmla="*/ 379244 h 427767"/>
              <a:gd name="connsiteX5" fmla="*/ 110 w 178758"/>
              <a:gd name="connsiteY5" fmla="*/ 374990 h 427767"/>
              <a:gd name="connsiteX6" fmla="*/ 1156 w 178758"/>
              <a:gd name="connsiteY6" fmla="*/ 331170 h 427767"/>
              <a:gd name="connsiteX7" fmla="*/ 1168 w 178758"/>
              <a:gd name="connsiteY7" fmla="*/ 331170 h 427767"/>
              <a:gd name="connsiteX8" fmla="*/ 4729 w 178758"/>
              <a:gd name="connsiteY8" fmla="*/ 181551 h 427767"/>
              <a:gd name="connsiteX9" fmla="*/ 6407 w 178758"/>
              <a:gd name="connsiteY9" fmla="*/ 111683 h 427767"/>
              <a:gd name="connsiteX10" fmla="*/ 7391 w 178758"/>
              <a:gd name="connsiteY10" fmla="*/ 102919 h 427767"/>
              <a:gd name="connsiteX11" fmla="*/ 14976 w 178758"/>
              <a:gd name="connsiteY11" fmla="*/ 84771 h 427767"/>
              <a:gd name="connsiteX12" fmla="*/ 21273 w 178758"/>
              <a:gd name="connsiteY12" fmla="*/ 77149 h 427767"/>
              <a:gd name="connsiteX13" fmla="*/ 21333 w 178758"/>
              <a:gd name="connsiteY13" fmla="*/ 77089 h 427767"/>
              <a:gd name="connsiteX14" fmla="*/ 21419 w 178758"/>
              <a:gd name="connsiteY14" fmla="*/ 77004 h 427767"/>
              <a:gd name="connsiteX15" fmla="*/ 40575 w 178758"/>
              <a:gd name="connsiteY15" fmla="*/ 65176 h 427767"/>
              <a:gd name="connsiteX16" fmla="*/ 40575 w 178758"/>
              <a:gd name="connsiteY16" fmla="*/ 12 h 427767"/>
              <a:gd name="connsiteX17" fmla="*/ 89391 w 178758"/>
              <a:gd name="connsiteY17" fmla="*/ 3574 h 427767"/>
              <a:gd name="connsiteX18" fmla="*/ 100975 w 178758"/>
              <a:gd name="connsiteY18" fmla="*/ 3367 h 427767"/>
              <a:gd name="connsiteX19" fmla="*/ 138267 w 178758"/>
              <a:gd name="connsiteY19" fmla="*/ 0 h 427767"/>
              <a:gd name="connsiteX20" fmla="*/ 138267 w 178758"/>
              <a:gd name="connsiteY20" fmla="*/ 65201 h 427767"/>
              <a:gd name="connsiteX21" fmla="*/ 172362 w 178758"/>
              <a:gd name="connsiteY21" fmla="*/ 111695 h 427767"/>
              <a:gd name="connsiteX22" fmla="*/ 177614 w 178758"/>
              <a:gd name="connsiteY22" fmla="*/ 331182 h 427767"/>
              <a:gd name="connsiteX23" fmla="*/ 178744 w 178758"/>
              <a:gd name="connsiteY23" fmla="*/ 379256 h 427767"/>
              <a:gd name="connsiteX24" fmla="*/ 167585 w 178758"/>
              <a:gd name="connsiteY24" fmla="*/ 410945 h 42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58" h="427767">
                <a:moveTo>
                  <a:pt x="167598" y="410933"/>
                </a:moveTo>
                <a:cubicBezTo>
                  <a:pt x="160317" y="419563"/>
                  <a:pt x="150021" y="425543"/>
                  <a:pt x="138304" y="427257"/>
                </a:cubicBezTo>
                <a:cubicBezTo>
                  <a:pt x="136043" y="427598"/>
                  <a:pt x="133721" y="427768"/>
                  <a:pt x="131375" y="427768"/>
                </a:cubicBezTo>
                <a:lnTo>
                  <a:pt x="47394" y="427768"/>
                </a:lnTo>
                <a:cubicBezTo>
                  <a:pt x="20787" y="427768"/>
                  <a:pt x="-607" y="405852"/>
                  <a:pt x="13" y="379244"/>
                </a:cubicBezTo>
                <a:lnTo>
                  <a:pt x="110" y="374990"/>
                </a:lnTo>
                <a:lnTo>
                  <a:pt x="1156" y="331170"/>
                </a:lnTo>
                <a:lnTo>
                  <a:pt x="1168" y="331170"/>
                </a:lnTo>
                <a:lnTo>
                  <a:pt x="4729" y="181551"/>
                </a:lnTo>
                <a:lnTo>
                  <a:pt x="6407" y="111683"/>
                </a:lnTo>
                <a:cubicBezTo>
                  <a:pt x="6468" y="108680"/>
                  <a:pt x="6820" y="105763"/>
                  <a:pt x="7391" y="102919"/>
                </a:cubicBezTo>
                <a:cubicBezTo>
                  <a:pt x="8716" y="96306"/>
                  <a:pt x="11330" y="90168"/>
                  <a:pt x="14976" y="84771"/>
                </a:cubicBezTo>
                <a:cubicBezTo>
                  <a:pt x="16824" y="82024"/>
                  <a:pt x="18939" y="79471"/>
                  <a:pt x="21273" y="77149"/>
                </a:cubicBezTo>
                <a:cubicBezTo>
                  <a:pt x="21297" y="77125"/>
                  <a:pt x="21309" y="77101"/>
                  <a:pt x="21333" y="77089"/>
                </a:cubicBezTo>
                <a:cubicBezTo>
                  <a:pt x="21358" y="77052"/>
                  <a:pt x="21394" y="77028"/>
                  <a:pt x="21419" y="77004"/>
                </a:cubicBezTo>
                <a:cubicBezTo>
                  <a:pt x="26779" y="71728"/>
                  <a:pt x="33306" y="67644"/>
                  <a:pt x="40575" y="65176"/>
                </a:cubicBezTo>
                <a:lnTo>
                  <a:pt x="40575" y="12"/>
                </a:lnTo>
                <a:cubicBezTo>
                  <a:pt x="56511" y="2346"/>
                  <a:pt x="72799" y="3574"/>
                  <a:pt x="89391" y="3574"/>
                </a:cubicBezTo>
                <a:cubicBezTo>
                  <a:pt x="93268" y="3574"/>
                  <a:pt x="97134" y="3513"/>
                  <a:pt x="100975" y="3367"/>
                </a:cubicBezTo>
                <a:cubicBezTo>
                  <a:pt x="113604" y="2929"/>
                  <a:pt x="126039" y="1799"/>
                  <a:pt x="138267" y="0"/>
                </a:cubicBezTo>
                <a:lnTo>
                  <a:pt x="138267" y="65201"/>
                </a:lnTo>
                <a:cubicBezTo>
                  <a:pt x="157715" y="71850"/>
                  <a:pt x="171852" y="90034"/>
                  <a:pt x="172362" y="111695"/>
                </a:cubicBezTo>
                <a:lnTo>
                  <a:pt x="177614" y="331182"/>
                </a:lnTo>
                <a:lnTo>
                  <a:pt x="178744" y="379256"/>
                </a:lnTo>
                <a:cubicBezTo>
                  <a:pt x="179036" y="391314"/>
                  <a:pt x="174806" y="402424"/>
                  <a:pt x="167585" y="410945"/>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 name="Freeform: Shape 21">
            <a:extLst>
              <a:ext uri="{FF2B5EF4-FFF2-40B4-BE49-F238E27FC236}">
                <a16:creationId xmlns:a16="http://schemas.microsoft.com/office/drawing/2014/main" id="{64EEEDB5-1304-2226-FAD4-FE33653C5C92}"/>
              </a:ext>
            </a:extLst>
          </p:cNvPr>
          <p:cNvSpPr/>
          <p:nvPr/>
        </p:nvSpPr>
        <p:spPr>
          <a:xfrm>
            <a:off x="11364391" y="1961378"/>
            <a:ext cx="336164" cy="327457"/>
          </a:xfrm>
          <a:custGeom>
            <a:avLst/>
            <a:gdLst>
              <a:gd name="connsiteX0" fmla="*/ 423270 w 667724"/>
              <a:gd name="connsiteY0" fmla="*/ 12155 h 667797"/>
              <a:gd name="connsiteX1" fmla="*/ 345489 w 667724"/>
              <a:gd name="connsiteY1" fmla="*/ 231 h 667797"/>
              <a:gd name="connsiteX2" fmla="*/ 341162 w 667724"/>
              <a:gd name="connsiteY2" fmla="*/ 97 h 667797"/>
              <a:gd name="connsiteX3" fmla="*/ 333881 w 667724"/>
              <a:gd name="connsiteY3" fmla="*/ 0 h 667797"/>
              <a:gd name="connsiteX4" fmla="*/ 179339 w 667724"/>
              <a:gd name="connsiteY4" fmla="*/ 37864 h 667797"/>
              <a:gd name="connsiteX5" fmla="*/ 178828 w 667724"/>
              <a:gd name="connsiteY5" fmla="*/ 38131 h 667797"/>
              <a:gd name="connsiteX6" fmla="*/ 178415 w 667724"/>
              <a:gd name="connsiteY6" fmla="*/ 38350 h 667797"/>
              <a:gd name="connsiteX7" fmla="*/ 93778 w 667724"/>
              <a:gd name="connsiteY7" fmla="*/ 101910 h 667797"/>
              <a:gd name="connsiteX8" fmla="*/ 93766 w 667724"/>
              <a:gd name="connsiteY8" fmla="*/ 101910 h 667797"/>
              <a:gd name="connsiteX9" fmla="*/ 73223 w 667724"/>
              <a:gd name="connsiteY9" fmla="*/ 125248 h 667797"/>
              <a:gd name="connsiteX10" fmla="*/ 48317 w 667724"/>
              <a:gd name="connsiteY10" fmla="*/ 160826 h 667797"/>
              <a:gd name="connsiteX11" fmla="*/ 47235 w 667724"/>
              <a:gd name="connsiteY11" fmla="*/ 162601 h 667797"/>
              <a:gd name="connsiteX12" fmla="*/ 47199 w 667724"/>
              <a:gd name="connsiteY12" fmla="*/ 162662 h 667797"/>
              <a:gd name="connsiteX13" fmla="*/ 26462 w 667724"/>
              <a:gd name="connsiteY13" fmla="*/ 203430 h 667797"/>
              <a:gd name="connsiteX14" fmla="*/ 26450 w 667724"/>
              <a:gd name="connsiteY14" fmla="*/ 203430 h 667797"/>
              <a:gd name="connsiteX15" fmla="*/ 17552 w 667724"/>
              <a:gd name="connsiteY15" fmla="*/ 226768 h 667797"/>
              <a:gd name="connsiteX16" fmla="*/ 17564 w 667724"/>
              <a:gd name="connsiteY16" fmla="*/ 226768 h 667797"/>
              <a:gd name="connsiteX17" fmla="*/ 13444 w 667724"/>
              <a:gd name="connsiteY17" fmla="*/ 239811 h 667797"/>
              <a:gd name="connsiteX18" fmla="*/ 1264 w 667724"/>
              <a:gd name="connsiteY18" fmla="*/ 304951 h 667797"/>
              <a:gd name="connsiteX19" fmla="*/ 73 w 667724"/>
              <a:gd name="connsiteY19" fmla="*/ 328289 h 667797"/>
              <a:gd name="connsiteX20" fmla="*/ 0 w 667724"/>
              <a:gd name="connsiteY20" fmla="*/ 333893 h 667797"/>
              <a:gd name="connsiteX21" fmla="*/ 304 w 667724"/>
              <a:gd name="connsiteY21" fmla="*/ 347592 h 667797"/>
              <a:gd name="connsiteX22" fmla="*/ 5446 w 667724"/>
              <a:gd name="connsiteY22" fmla="*/ 394098 h 667797"/>
              <a:gd name="connsiteX23" fmla="*/ 7950 w 667724"/>
              <a:gd name="connsiteY23" fmla="*/ 406496 h 667797"/>
              <a:gd name="connsiteX24" fmla="*/ 7937 w 667724"/>
              <a:gd name="connsiteY24" fmla="*/ 406496 h 667797"/>
              <a:gd name="connsiteX25" fmla="*/ 14027 w 667724"/>
              <a:gd name="connsiteY25" fmla="*/ 429822 h 667797"/>
              <a:gd name="connsiteX26" fmla="*/ 48974 w 667724"/>
              <a:gd name="connsiteY26" fmla="*/ 508017 h 667797"/>
              <a:gd name="connsiteX27" fmla="*/ 64630 w 667724"/>
              <a:gd name="connsiteY27" fmla="*/ 531343 h 667797"/>
              <a:gd name="connsiteX28" fmla="*/ 64642 w 667724"/>
              <a:gd name="connsiteY28" fmla="*/ 531343 h 667797"/>
              <a:gd name="connsiteX29" fmla="*/ 109604 w 667724"/>
              <a:gd name="connsiteY29" fmla="*/ 581216 h 667797"/>
              <a:gd name="connsiteX30" fmla="*/ 285041 w 667724"/>
              <a:gd name="connsiteY30" fmla="*/ 664236 h 667797"/>
              <a:gd name="connsiteX31" fmla="*/ 285053 w 667724"/>
              <a:gd name="connsiteY31" fmla="*/ 664236 h 667797"/>
              <a:gd name="connsiteX32" fmla="*/ 333868 w 667724"/>
              <a:gd name="connsiteY32" fmla="*/ 667798 h 667797"/>
              <a:gd name="connsiteX33" fmla="*/ 345452 w 667724"/>
              <a:gd name="connsiteY33" fmla="*/ 667591 h 667797"/>
              <a:gd name="connsiteX34" fmla="*/ 382745 w 667724"/>
              <a:gd name="connsiteY34" fmla="*/ 664224 h 667797"/>
              <a:gd name="connsiteX35" fmla="*/ 423246 w 667724"/>
              <a:gd name="connsiteY35" fmla="*/ 655655 h 667797"/>
              <a:gd name="connsiteX36" fmla="*/ 667421 w 667724"/>
              <a:gd name="connsiteY36" fmla="*/ 347616 h 667797"/>
              <a:gd name="connsiteX37" fmla="*/ 667725 w 667724"/>
              <a:gd name="connsiteY37" fmla="*/ 333917 h 667797"/>
              <a:gd name="connsiteX38" fmla="*/ 423234 w 667724"/>
              <a:gd name="connsiteY38" fmla="*/ 12192 h 667797"/>
              <a:gd name="connsiteX39" fmla="*/ 578213 w 667724"/>
              <a:gd name="connsiteY39" fmla="*/ 339788 h 667797"/>
              <a:gd name="connsiteX40" fmla="*/ 578104 w 667724"/>
              <a:gd name="connsiteY40" fmla="*/ 343374 h 667797"/>
              <a:gd name="connsiteX41" fmla="*/ 578019 w 667724"/>
              <a:gd name="connsiteY41" fmla="*/ 345489 h 667797"/>
              <a:gd name="connsiteX42" fmla="*/ 577946 w 667724"/>
              <a:gd name="connsiteY42" fmla="*/ 346923 h 667797"/>
              <a:gd name="connsiteX43" fmla="*/ 577788 w 667724"/>
              <a:gd name="connsiteY43" fmla="*/ 349549 h 667797"/>
              <a:gd name="connsiteX44" fmla="*/ 577764 w 667724"/>
              <a:gd name="connsiteY44" fmla="*/ 350096 h 667797"/>
              <a:gd name="connsiteX45" fmla="*/ 577302 w 667724"/>
              <a:gd name="connsiteY45" fmla="*/ 355906 h 667797"/>
              <a:gd name="connsiteX46" fmla="*/ 577010 w 667724"/>
              <a:gd name="connsiteY46" fmla="*/ 359006 h 667797"/>
              <a:gd name="connsiteX47" fmla="*/ 576293 w 667724"/>
              <a:gd name="connsiteY47" fmla="*/ 365168 h 667797"/>
              <a:gd name="connsiteX48" fmla="*/ 575880 w 667724"/>
              <a:gd name="connsiteY48" fmla="*/ 368243 h 667797"/>
              <a:gd name="connsiteX49" fmla="*/ 574944 w 667724"/>
              <a:gd name="connsiteY49" fmla="*/ 374345 h 667797"/>
              <a:gd name="connsiteX50" fmla="*/ 574421 w 667724"/>
              <a:gd name="connsiteY50" fmla="*/ 377372 h 667797"/>
              <a:gd name="connsiteX51" fmla="*/ 573862 w 667724"/>
              <a:gd name="connsiteY51" fmla="*/ 380399 h 667797"/>
              <a:gd name="connsiteX52" fmla="*/ 573266 w 667724"/>
              <a:gd name="connsiteY52" fmla="*/ 383401 h 667797"/>
              <a:gd name="connsiteX53" fmla="*/ 572622 w 667724"/>
              <a:gd name="connsiteY53" fmla="*/ 386403 h 667797"/>
              <a:gd name="connsiteX54" fmla="*/ 571248 w 667724"/>
              <a:gd name="connsiteY54" fmla="*/ 392335 h 667797"/>
              <a:gd name="connsiteX55" fmla="*/ 569717 w 667724"/>
              <a:gd name="connsiteY55" fmla="*/ 398218 h 667797"/>
              <a:gd name="connsiteX56" fmla="*/ 569036 w 667724"/>
              <a:gd name="connsiteY56" fmla="*/ 400686 h 667797"/>
              <a:gd name="connsiteX57" fmla="*/ 568744 w 667724"/>
              <a:gd name="connsiteY57" fmla="*/ 401695 h 667797"/>
              <a:gd name="connsiteX58" fmla="*/ 567565 w 667724"/>
              <a:gd name="connsiteY58" fmla="*/ 405633 h 667797"/>
              <a:gd name="connsiteX59" fmla="*/ 566702 w 667724"/>
              <a:gd name="connsiteY59" fmla="*/ 408429 h 667797"/>
              <a:gd name="connsiteX60" fmla="*/ 565888 w 667724"/>
              <a:gd name="connsiteY60" fmla="*/ 410921 h 667797"/>
              <a:gd name="connsiteX61" fmla="*/ 565305 w 667724"/>
              <a:gd name="connsiteY61" fmla="*/ 412683 h 667797"/>
              <a:gd name="connsiteX62" fmla="*/ 564308 w 667724"/>
              <a:gd name="connsiteY62" fmla="*/ 415527 h 667797"/>
              <a:gd name="connsiteX63" fmla="*/ 563287 w 667724"/>
              <a:gd name="connsiteY63" fmla="*/ 418360 h 667797"/>
              <a:gd name="connsiteX64" fmla="*/ 562241 w 667724"/>
              <a:gd name="connsiteY64" fmla="*/ 421167 h 667797"/>
              <a:gd name="connsiteX65" fmla="*/ 560017 w 667724"/>
              <a:gd name="connsiteY65" fmla="*/ 426747 h 667797"/>
              <a:gd name="connsiteX66" fmla="*/ 557707 w 667724"/>
              <a:gd name="connsiteY66" fmla="*/ 432180 h 667797"/>
              <a:gd name="connsiteX67" fmla="*/ 557671 w 667724"/>
              <a:gd name="connsiteY67" fmla="*/ 432265 h 667797"/>
              <a:gd name="connsiteX68" fmla="*/ 556455 w 667724"/>
              <a:gd name="connsiteY68" fmla="*/ 434976 h 667797"/>
              <a:gd name="connsiteX69" fmla="*/ 555204 w 667724"/>
              <a:gd name="connsiteY69" fmla="*/ 437686 h 667797"/>
              <a:gd name="connsiteX70" fmla="*/ 553988 w 667724"/>
              <a:gd name="connsiteY70" fmla="*/ 440215 h 667797"/>
              <a:gd name="connsiteX71" fmla="*/ 553879 w 667724"/>
              <a:gd name="connsiteY71" fmla="*/ 440458 h 667797"/>
              <a:gd name="connsiteX72" fmla="*/ 552602 w 667724"/>
              <a:gd name="connsiteY72" fmla="*/ 443047 h 667797"/>
              <a:gd name="connsiteX73" fmla="*/ 549867 w 667724"/>
              <a:gd name="connsiteY73" fmla="*/ 448347 h 667797"/>
              <a:gd name="connsiteX74" fmla="*/ 548567 w 667724"/>
              <a:gd name="connsiteY74" fmla="*/ 450778 h 667797"/>
              <a:gd name="connsiteX75" fmla="*/ 545540 w 667724"/>
              <a:gd name="connsiteY75" fmla="*/ 456138 h 667797"/>
              <a:gd name="connsiteX76" fmla="*/ 544179 w 667724"/>
              <a:gd name="connsiteY76" fmla="*/ 458484 h 667797"/>
              <a:gd name="connsiteX77" fmla="*/ 537749 w 667724"/>
              <a:gd name="connsiteY77" fmla="*/ 468731 h 667797"/>
              <a:gd name="connsiteX78" fmla="*/ 536083 w 667724"/>
              <a:gd name="connsiteY78" fmla="*/ 471186 h 667797"/>
              <a:gd name="connsiteX79" fmla="*/ 534406 w 667724"/>
              <a:gd name="connsiteY79" fmla="*/ 473630 h 667797"/>
              <a:gd name="connsiteX80" fmla="*/ 532692 w 667724"/>
              <a:gd name="connsiteY80" fmla="*/ 476036 h 667797"/>
              <a:gd name="connsiteX81" fmla="*/ 530954 w 667724"/>
              <a:gd name="connsiteY81" fmla="*/ 478419 h 667797"/>
              <a:gd name="connsiteX82" fmla="*/ 529191 w 667724"/>
              <a:gd name="connsiteY82" fmla="*/ 480789 h 667797"/>
              <a:gd name="connsiteX83" fmla="*/ 527392 w 667724"/>
              <a:gd name="connsiteY83" fmla="*/ 483135 h 667797"/>
              <a:gd name="connsiteX84" fmla="*/ 525593 w 667724"/>
              <a:gd name="connsiteY84" fmla="*/ 485444 h 667797"/>
              <a:gd name="connsiteX85" fmla="*/ 525569 w 667724"/>
              <a:gd name="connsiteY85" fmla="*/ 485469 h 667797"/>
              <a:gd name="connsiteX86" fmla="*/ 523734 w 667724"/>
              <a:gd name="connsiteY86" fmla="*/ 487766 h 667797"/>
              <a:gd name="connsiteX87" fmla="*/ 520051 w 667724"/>
              <a:gd name="connsiteY87" fmla="*/ 492191 h 667797"/>
              <a:gd name="connsiteX88" fmla="*/ 519795 w 667724"/>
              <a:gd name="connsiteY88" fmla="*/ 492495 h 667797"/>
              <a:gd name="connsiteX89" fmla="*/ 518045 w 667724"/>
              <a:gd name="connsiteY89" fmla="*/ 494524 h 667797"/>
              <a:gd name="connsiteX90" fmla="*/ 516015 w 667724"/>
              <a:gd name="connsiteY90" fmla="*/ 496822 h 667797"/>
              <a:gd name="connsiteX91" fmla="*/ 514094 w 667724"/>
              <a:gd name="connsiteY91" fmla="*/ 498912 h 667797"/>
              <a:gd name="connsiteX92" fmla="*/ 510059 w 667724"/>
              <a:gd name="connsiteY92" fmla="*/ 503215 h 667797"/>
              <a:gd name="connsiteX93" fmla="*/ 508005 w 667724"/>
              <a:gd name="connsiteY93" fmla="*/ 505318 h 667797"/>
              <a:gd name="connsiteX94" fmla="*/ 505926 w 667724"/>
              <a:gd name="connsiteY94" fmla="*/ 507409 h 667797"/>
              <a:gd name="connsiteX95" fmla="*/ 503714 w 667724"/>
              <a:gd name="connsiteY95" fmla="*/ 509560 h 667797"/>
              <a:gd name="connsiteX96" fmla="*/ 501477 w 667724"/>
              <a:gd name="connsiteY96" fmla="*/ 511688 h 667797"/>
              <a:gd name="connsiteX97" fmla="*/ 494609 w 667724"/>
              <a:gd name="connsiteY97" fmla="*/ 517911 h 667797"/>
              <a:gd name="connsiteX98" fmla="*/ 492276 w 667724"/>
              <a:gd name="connsiteY98" fmla="*/ 519929 h 667797"/>
              <a:gd name="connsiteX99" fmla="*/ 487888 w 667724"/>
              <a:gd name="connsiteY99" fmla="*/ 523576 h 667797"/>
              <a:gd name="connsiteX100" fmla="*/ 479987 w 667724"/>
              <a:gd name="connsiteY100" fmla="*/ 529726 h 667797"/>
              <a:gd name="connsiteX101" fmla="*/ 477714 w 667724"/>
              <a:gd name="connsiteY101" fmla="*/ 531416 h 667797"/>
              <a:gd name="connsiteX102" fmla="*/ 472657 w 667724"/>
              <a:gd name="connsiteY102" fmla="*/ 535001 h 667797"/>
              <a:gd name="connsiteX103" fmla="*/ 470092 w 667724"/>
              <a:gd name="connsiteY103" fmla="*/ 536752 h 667797"/>
              <a:gd name="connsiteX104" fmla="*/ 464914 w 667724"/>
              <a:gd name="connsiteY104" fmla="*/ 540143 h 667797"/>
              <a:gd name="connsiteX105" fmla="*/ 462289 w 667724"/>
              <a:gd name="connsiteY105" fmla="*/ 541784 h 667797"/>
              <a:gd name="connsiteX106" fmla="*/ 455372 w 667724"/>
              <a:gd name="connsiteY106" fmla="*/ 545905 h 667797"/>
              <a:gd name="connsiteX107" fmla="*/ 453112 w 667724"/>
              <a:gd name="connsiteY107" fmla="*/ 547193 h 667797"/>
              <a:gd name="connsiteX108" fmla="*/ 451556 w 667724"/>
              <a:gd name="connsiteY108" fmla="*/ 548056 h 667797"/>
              <a:gd name="connsiteX109" fmla="*/ 448809 w 667724"/>
              <a:gd name="connsiteY109" fmla="*/ 549539 h 667797"/>
              <a:gd name="connsiteX110" fmla="*/ 446049 w 667724"/>
              <a:gd name="connsiteY110" fmla="*/ 550986 h 667797"/>
              <a:gd name="connsiteX111" fmla="*/ 443278 w 667724"/>
              <a:gd name="connsiteY111" fmla="*/ 552408 h 667797"/>
              <a:gd name="connsiteX112" fmla="*/ 428570 w 667724"/>
              <a:gd name="connsiteY112" fmla="*/ 559178 h 667797"/>
              <a:gd name="connsiteX113" fmla="*/ 426200 w 667724"/>
              <a:gd name="connsiteY113" fmla="*/ 560163 h 667797"/>
              <a:gd name="connsiteX114" fmla="*/ 423258 w 667724"/>
              <a:gd name="connsiteY114" fmla="*/ 561354 h 667797"/>
              <a:gd name="connsiteX115" fmla="*/ 345465 w 667724"/>
              <a:gd name="connsiteY115" fmla="*/ 577958 h 667797"/>
              <a:gd name="connsiteX116" fmla="*/ 345355 w 667724"/>
              <a:gd name="connsiteY116" fmla="*/ 577958 h 667797"/>
              <a:gd name="connsiteX117" fmla="*/ 342596 w 667724"/>
              <a:gd name="connsiteY117" fmla="*/ 578068 h 667797"/>
              <a:gd name="connsiteX118" fmla="*/ 339703 w 667724"/>
              <a:gd name="connsiteY118" fmla="*/ 578153 h 667797"/>
              <a:gd name="connsiteX119" fmla="*/ 336798 w 667724"/>
              <a:gd name="connsiteY119" fmla="*/ 578213 h 667797"/>
              <a:gd name="connsiteX120" fmla="*/ 333893 w 667724"/>
              <a:gd name="connsiteY120" fmla="*/ 578226 h 667797"/>
              <a:gd name="connsiteX121" fmla="*/ 331365 w 667724"/>
              <a:gd name="connsiteY121" fmla="*/ 578213 h 667797"/>
              <a:gd name="connsiteX122" fmla="*/ 329723 w 667724"/>
              <a:gd name="connsiteY122" fmla="*/ 578189 h 667797"/>
              <a:gd name="connsiteX123" fmla="*/ 327912 w 667724"/>
              <a:gd name="connsiteY123" fmla="*/ 578153 h 667797"/>
              <a:gd name="connsiteX124" fmla="*/ 324934 w 667724"/>
              <a:gd name="connsiteY124" fmla="*/ 578068 h 667797"/>
              <a:gd name="connsiteX125" fmla="*/ 323318 w 667724"/>
              <a:gd name="connsiteY125" fmla="*/ 578007 h 667797"/>
              <a:gd name="connsiteX126" fmla="*/ 321349 w 667724"/>
              <a:gd name="connsiteY126" fmla="*/ 577922 h 667797"/>
              <a:gd name="connsiteX127" fmla="*/ 318857 w 667724"/>
              <a:gd name="connsiteY127" fmla="*/ 577776 h 667797"/>
              <a:gd name="connsiteX128" fmla="*/ 314529 w 667724"/>
              <a:gd name="connsiteY128" fmla="*/ 577484 h 667797"/>
              <a:gd name="connsiteX129" fmla="*/ 308962 w 667724"/>
              <a:gd name="connsiteY129" fmla="*/ 576974 h 667797"/>
              <a:gd name="connsiteX130" fmla="*/ 306495 w 667724"/>
              <a:gd name="connsiteY130" fmla="*/ 576718 h 667797"/>
              <a:gd name="connsiteX131" fmla="*/ 301608 w 667724"/>
              <a:gd name="connsiteY131" fmla="*/ 576123 h 667797"/>
              <a:gd name="connsiteX132" fmla="*/ 296758 w 667724"/>
              <a:gd name="connsiteY132" fmla="*/ 575430 h 667797"/>
              <a:gd name="connsiteX133" fmla="*/ 294327 w 667724"/>
              <a:gd name="connsiteY133" fmla="*/ 575053 h 667797"/>
              <a:gd name="connsiteX134" fmla="*/ 287132 w 667724"/>
              <a:gd name="connsiteY134" fmla="*/ 573777 h 667797"/>
              <a:gd name="connsiteX135" fmla="*/ 280385 w 667724"/>
              <a:gd name="connsiteY135" fmla="*/ 572355 h 667797"/>
              <a:gd name="connsiteX136" fmla="*/ 267574 w 667724"/>
              <a:gd name="connsiteY136" fmla="*/ 569121 h 667797"/>
              <a:gd name="connsiteX137" fmla="*/ 264827 w 667724"/>
              <a:gd name="connsiteY137" fmla="*/ 568331 h 667797"/>
              <a:gd name="connsiteX138" fmla="*/ 262092 w 667724"/>
              <a:gd name="connsiteY138" fmla="*/ 567517 h 667797"/>
              <a:gd name="connsiteX139" fmla="*/ 253279 w 667724"/>
              <a:gd name="connsiteY139" fmla="*/ 564624 h 667797"/>
              <a:gd name="connsiteX140" fmla="*/ 251298 w 667724"/>
              <a:gd name="connsiteY140" fmla="*/ 563919 h 667797"/>
              <a:gd name="connsiteX141" fmla="*/ 248636 w 667724"/>
              <a:gd name="connsiteY141" fmla="*/ 562946 h 667797"/>
              <a:gd name="connsiteX142" fmla="*/ 246885 w 667724"/>
              <a:gd name="connsiteY142" fmla="*/ 562278 h 667797"/>
              <a:gd name="connsiteX143" fmla="*/ 243360 w 667724"/>
              <a:gd name="connsiteY143" fmla="*/ 560916 h 667797"/>
              <a:gd name="connsiteX144" fmla="*/ 238960 w 667724"/>
              <a:gd name="connsiteY144" fmla="*/ 559105 h 667797"/>
              <a:gd name="connsiteX145" fmla="*/ 234609 w 667724"/>
              <a:gd name="connsiteY145" fmla="*/ 557221 h 667797"/>
              <a:gd name="connsiteX146" fmla="*/ 230294 w 667724"/>
              <a:gd name="connsiteY146" fmla="*/ 555252 h 667797"/>
              <a:gd name="connsiteX147" fmla="*/ 226489 w 667724"/>
              <a:gd name="connsiteY147" fmla="*/ 553417 h 667797"/>
              <a:gd name="connsiteX148" fmla="*/ 225760 w 667724"/>
              <a:gd name="connsiteY148" fmla="*/ 553064 h 667797"/>
              <a:gd name="connsiteX149" fmla="*/ 221797 w 667724"/>
              <a:gd name="connsiteY149" fmla="*/ 551071 h 667797"/>
              <a:gd name="connsiteX150" fmla="*/ 217628 w 667724"/>
              <a:gd name="connsiteY150" fmla="*/ 548858 h 667797"/>
              <a:gd name="connsiteX151" fmla="*/ 213507 w 667724"/>
              <a:gd name="connsiteY151" fmla="*/ 546573 h 667797"/>
              <a:gd name="connsiteX152" fmla="*/ 209435 w 667724"/>
              <a:gd name="connsiteY152" fmla="*/ 544215 h 667797"/>
              <a:gd name="connsiteX153" fmla="*/ 205400 w 667724"/>
              <a:gd name="connsiteY153" fmla="*/ 541760 h 667797"/>
              <a:gd name="connsiteX154" fmla="*/ 201425 w 667724"/>
              <a:gd name="connsiteY154" fmla="*/ 539244 h 667797"/>
              <a:gd name="connsiteX155" fmla="*/ 197511 w 667724"/>
              <a:gd name="connsiteY155" fmla="*/ 536667 h 667797"/>
              <a:gd name="connsiteX156" fmla="*/ 189829 w 667724"/>
              <a:gd name="connsiteY156" fmla="*/ 531282 h 667797"/>
              <a:gd name="connsiteX157" fmla="*/ 182645 w 667724"/>
              <a:gd name="connsiteY157" fmla="*/ 525824 h 667797"/>
              <a:gd name="connsiteX158" fmla="*/ 179776 w 667724"/>
              <a:gd name="connsiteY158" fmla="*/ 523515 h 667797"/>
              <a:gd name="connsiteX159" fmla="*/ 177916 w 667724"/>
              <a:gd name="connsiteY159" fmla="*/ 521983 h 667797"/>
              <a:gd name="connsiteX160" fmla="*/ 176981 w 667724"/>
              <a:gd name="connsiteY160" fmla="*/ 521205 h 667797"/>
              <a:gd name="connsiteX161" fmla="*/ 174829 w 667724"/>
              <a:gd name="connsiteY161" fmla="*/ 519382 h 667797"/>
              <a:gd name="connsiteX162" fmla="*/ 170538 w 667724"/>
              <a:gd name="connsiteY162" fmla="*/ 515614 h 667797"/>
              <a:gd name="connsiteX163" fmla="*/ 168411 w 667724"/>
              <a:gd name="connsiteY163" fmla="*/ 513657 h 667797"/>
              <a:gd name="connsiteX164" fmla="*/ 165944 w 667724"/>
              <a:gd name="connsiteY164" fmla="*/ 511372 h 667797"/>
              <a:gd name="connsiteX165" fmla="*/ 162394 w 667724"/>
              <a:gd name="connsiteY165" fmla="*/ 507956 h 667797"/>
              <a:gd name="connsiteX166" fmla="*/ 160304 w 667724"/>
              <a:gd name="connsiteY166" fmla="*/ 505865 h 667797"/>
              <a:gd name="connsiteX167" fmla="*/ 158432 w 667724"/>
              <a:gd name="connsiteY167" fmla="*/ 503945 h 667797"/>
              <a:gd name="connsiteX168" fmla="*/ 155441 w 667724"/>
              <a:gd name="connsiteY168" fmla="*/ 500809 h 667797"/>
              <a:gd name="connsiteX169" fmla="*/ 153156 w 667724"/>
              <a:gd name="connsiteY169" fmla="*/ 498341 h 667797"/>
              <a:gd name="connsiteX170" fmla="*/ 151138 w 667724"/>
              <a:gd name="connsiteY170" fmla="*/ 496092 h 667797"/>
              <a:gd name="connsiteX171" fmla="*/ 148258 w 667724"/>
              <a:gd name="connsiteY171" fmla="*/ 492786 h 667797"/>
              <a:gd name="connsiteX172" fmla="*/ 146337 w 667724"/>
              <a:gd name="connsiteY172" fmla="*/ 490525 h 667797"/>
              <a:gd name="connsiteX173" fmla="*/ 142581 w 667724"/>
              <a:gd name="connsiteY173" fmla="*/ 485918 h 667797"/>
              <a:gd name="connsiteX174" fmla="*/ 141135 w 667724"/>
              <a:gd name="connsiteY174" fmla="*/ 484107 h 667797"/>
              <a:gd name="connsiteX175" fmla="*/ 139956 w 667724"/>
              <a:gd name="connsiteY175" fmla="*/ 482564 h 667797"/>
              <a:gd name="connsiteX176" fmla="*/ 137950 w 667724"/>
              <a:gd name="connsiteY176" fmla="*/ 479938 h 667797"/>
              <a:gd name="connsiteX177" fmla="*/ 134632 w 667724"/>
              <a:gd name="connsiteY177" fmla="*/ 475380 h 667797"/>
              <a:gd name="connsiteX178" fmla="*/ 132310 w 667724"/>
              <a:gd name="connsiteY178" fmla="*/ 472062 h 667797"/>
              <a:gd name="connsiteX179" fmla="*/ 131872 w 667724"/>
              <a:gd name="connsiteY179" fmla="*/ 471429 h 667797"/>
              <a:gd name="connsiteX180" fmla="*/ 130329 w 667724"/>
              <a:gd name="connsiteY180" fmla="*/ 469144 h 667797"/>
              <a:gd name="connsiteX181" fmla="*/ 127776 w 667724"/>
              <a:gd name="connsiteY181" fmla="*/ 465230 h 667797"/>
              <a:gd name="connsiteX182" fmla="*/ 125065 w 667724"/>
              <a:gd name="connsiteY182" fmla="*/ 460891 h 667797"/>
              <a:gd name="connsiteX183" fmla="*/ 123145 w 667724"/>
              <a:gd name="connsiteY183" fmla="*/ 457694 h 667797"/>
              <a:gd name="connsiteX184" fmla="*/ 121893 w 667724"/>
              <a:gd name="connsiteY184" fmla="*/ 455543 h 667797"/>
              <a:gd name="connsiteX185" fmla="*/ 119510 w 667724"/>
              <a:gd name="connsiteY185" fmla="*/ 451313 h 667797"/>
              <a:gd name="connsiteX186" fmla="*/ 117930 w 667724"/>
              <a:gd name="connsiteY186" fmla="*/ 448359 h 667797"/>
              <a:gd name="connsiteX187" fmla="*/ 116703 w 667724"/>
              <a:gd name="connsiteY187" fmla="*/ 446025 h 667797"/>
              <a:gd name="connsiteX188" fmla="*/ 115341 w 667724"/>
              <a:gd name="connsiteY188" fmla="*/ 443375 h 667797"/>
              <a:gd name="connsiteX189" fmla="*/ 114016 w 667724"/>
              <a:gd name="connsiteY189" fmla="*/ 440677 h 667797"/>
              <a:gd name="connsiteX190" fmla="*/ 111464 w 667724"/>
              <a:gd name="connsiteY190" fmla="*/ 435255 h 667797"/>
              <a:gd name="connsiteX191" fmla="*/ 109020 w 667724"/>
              <a:gd name="connsiteY191" fmla="*/ 429761 h 667797"/>
              <a:gd name="connsiteX192" fmla="*/ 107927 w 667724"/>
              <a:gd name="connsiteY192" fmla="*/ 427136 h 667797"/>
              <a:gd name="connsiteX193" fmla="*/ 107793 w 667724"/>
              <a:gd name="connsiteY193" fmla="*/ 426832 h 667797"/>
              <a:gd name="connsiteX194" fmla="*/ 106699 w 667724"/>
              <a:gd name="connsiteY194" fmla="*/ 424109 h 667797"/>
              <a:gd name="connsiteX195" fmla="*/ 105532 w 667724"/>
              <a:gd name="connsiteY195" fmla="*/ 421143 h 667797"/>
              <a:gd name="connsiteX196" fmla="*/ 104450 w 667724"/>
              <a:gd name="connsiteY196" fmla="*/ 418238 h 667797"/>
              <a:gd name="connsiteX197" fmla="*/ 103393 w 667724"/>
              <a:gd name="connsiteY197" fmla="*/ 415321 h 667797"/>
              <a:gd name="connsiteX198" fmla="*/ 102372 w 667724"/>
              <a:gd name="connsiteY198" fmla="*/ 412379 h 667797"/>
              <a:gd name="connsiteX199" fmla="*/ 101387 w 667724"/>
              <a:gd name="connsiteY199" fmla="*/ 409413 h 667797"/>
              <a:gd name="connsiteX200" fmla="*/ 100427 w 667724"/>
              <a:gd name="connsiteY200" fmla="*/ 406435 h 667797"/>
              <a:gd name="connsiteX201" fmla="*/ 99138 w 667724"/>
              <a:gd name="connsiteY201" fmla="*/ 402120 h 667797"/>
              <a:gd name="connsiteX202" fmla="*/ 97923 w 667724"/>
              <a:gd name="connsiteY202" fmla="*/ 397769 h 667797"/>
              <a:gd name="connsiteX203" fmla="*/ 96768 w 667724"/>
              <a:gd name="connsiteY203" fmla="*/ 393393 h 667797"/>
              <a:gd name="connsiteX204" fmla="*/ 95577 w 667724"/>
              <a:gd name="connsiteY204" fmla="*/ 388409 h 667797"/>
              <a:gd name="connsiteX205" fmla="*/ 94811 w 667724"/>
              <a:gd name="connsiteY205" fmla="*/ 384933 h 667797"/>
              <a:gd name="connsiteX206" fmla="*/ 94653 w 667724"/>
              <a:gd name="connsiteY206" fmla="*/ 384179 h 667797"/>
              <a:gd name="connsiteX207" fmla="*/ 93826 w 667724"/>
              <a:gd name="connsiteY207" fmla="*/ 380046 h 667797"/>
              <a:gd name="connsiteX208" fmla="*/ 93012 w 667724"/>
              <a:gd name="connsiteY208" fmla="*/ 375537 h 667797"/>
              <a:gd name="connsiteX209" fmla="*/ 92161 w 667724"/>
              <a:gd name="connsiteY209" fmla="*/ 370237 h 667797"/>
              <a:gd name="connsiteX210" fmla="*/ 91675 w 667724"/>
              <a:gd name="connsiteY210" fmla="*/ 366846 h 667797"/>
              <a:gd name="connsiteX211" fmla="*/ 91237 w 667724"/>
              <a:gd name="connsiteY211" fmla="*/ 363394 h 667797"/>
              <a:gd name="connsiteX212" fmla="*/ 90946 w 667724"/>
              <a:gd name="connsiteY212" fmla="*/ 360817 h 667797"/>
              <a:gd name="connsiteX213" fmla="*/ 90581 w 667724"/>
              <a:gd name="connsiteY213" fmla="*/ 357255 h 667797"/>
              <a:gd name="connsiteX214" fmla="*/ 89949 w 667724"/>
              <a:gd name="connsiteY214" fmla="*/ 349123 h 667797"/>
              <a:gd name="connsiteX215" fmla="*/ 89937 w 667724"/>
              <a:gd name="connsiteY215" fmla="*/ 348868 h 667797"/>
              <a:gd name="connsiteX216" fmla="*/ 89779 w 667724"/>
              <a:gd name="connsiteY216" fmla="*/ 346109 h 667797"/>
              <a:gd name="connsiteX217" fmla="*/ 89706 w 667724"/>
              <a:gd name="connsiteY217" fmla="*/ 344371 h 667797"/>
              <a:gd name="connsiteX218" fmla="*/ 89645 w 667724"/>
              <a:gd name="connsiteY218" fmla="*/ 342742 h 667797"/>
              <a:gd name="connsiteX219" fmla="*/ 89536 w 667724"/>
              <a:gd name="connsiteY219" fmla="*/ 338560 h 667797"/>
              <a:gd name="connsiteX220" fmla="*/ 89487 w 667724"/>
              <a:gd name="connsiteY220" fmla="*/ 333832 h 667797"/>
              <a:gd name="connsiteX221" fmla="*/ 89499 w 667724"/>
              <a:gd name="connsiteY221" fmla="*/ 331024 h 667797"/>
              <a:gd name="connsiteX222" fmla="*/ 89548 w 667724"/>
              <a:gd name="connsiteY222" fmla="*/ 328228 h 667797"/>
              <a:gd name="connsiteX223" fmla="*/ 89767 w 667724"/>
              <a:gd name="connsiteY223" fmla="*/ 322345 h 667797"/>
              <a:gd name="connsiteX224" fmla="*/ 89925 w 667724"/>
              <a:gd name="connsiteY224" fmla="*/ 319404 h 667797"/>
              <a:gd name="connsiteX225" fmla="*/ 90338 w 667724"/>
              <a:gd name="connsiteY225" fmla="*/ 313569 h 667797"/>
              <a:gd name="connsiteX226" fmla="*/ 90678 w 667724"/>
              <a:gd name="connsiteY226" fmla="*/ 309801 h 667797"/>
              <a:gd name="connsiteX227" fmla="*/ 91201 w 667724"/>
              <a:gd name="connsiteY227" fmla="*/ 304890 h 667797"/>
              <a:gd name="connsiteX228" fmla="*/ 91517 w 667724"/>
              <a:gd name="connsiteY228" fmla="*/ 302301 h 667797"/>
              <a:gd name="connsiteX229" fmla="*/ 92246 w 667724"/>
              <a:gd name="connsiteY229" fmla="*/ 297135 h 667797"/>
              <a:gd name="connsiteX230" fmla="*/ 93073 w 667724"/>
              <a:gd name="connsiteY230" fmla="*/ 291994 h 667797"/>
              <a:gd name="connsiteX231" fmla="*/ 94009 w 667724"/>
              <a:gd name="connsiteY231" fmla="*/ 286901 h 667797"/>
              <a:gd name="connsiteX232" fmla="*/ 96197 w 667724"/>
              <a:gd name="connsiteY232" fmla="*/ 276812 h 667797"/>
              <a:gd name="connsiteX233" fmla="*/ 96804 w 667724"/>
              <a:gd name="connsiteY233" fmla="*/ 274308 h 667797"/>
              <a:gd name="connsiteX234" fmla="*/ 97437 w 667724"/>
              <a:gd name="connsiteY234" fmla="*/ 271828 h 667797"/>
              <a:gd name="connsiteX235" fmla="*/ 98105 w 667724"/>
              <a:gd name="connsiteY235" fmla="*/ 269348 h 667797"/>
              <a:gd name="connsiteX236" fmla="*/ 98786 w 667724"/>
              <a:gd name="connsiteY236" fmla="*/ 266869 h 667797"/>
              <a:gd name="connsiteX237" fmla="*/ 99503 w 667724"/>
              <a:gd name="connsiteY237" fmla="*/ 264413 h 667797"/>
              <a:gd name="connsiteX238" fmla="*/ 100998 w 667724"/>
              <a:gd name="connsiteY238" fmla="*/ 259539 h 667797"/>
              <a:gd name="connsiteX239" fmla="*/ 102603 w 667724"/>
              <a:gd name="connsiteY239" fmla="*/ 254701 h 667797"/>
              <a:gd name="connsiteX240" fmla="*/ 104292 w 667724"/>
              <a:gd name="connsiteY240" fmla="*/ 249912 h 667797"/>
              <a:gd name="connsiteX241" fmla="*/ 107720 w 667724"/>
              <a:gd name="connsiteY241" fmla="*/ 241063 h 667797"/>
              <a:gd name="connsiteX242" fmla="*/ 107999 w 667724"/>
              <a:gd name="connsiteY242" fmla="*/ 240370 h 667797"/>
              <a:gd name="connsiteX243" fmla="*/ 109944 w 667724"/>
              <a:gd name="connsiteY243" fmla="*/ 235824 h 667797"/>
              <a:gd name="connsiteX244" fmla="*/ 114174 w 667724"/>
              <a:gd name="connsiteY244" fmla="*/ 226683 h 667797"/>
              <a:gd name="connsiteX245" fmla="*/ 115682 w 667724"/>
              <a:gd name="connsiteY245" fmla="*/ 223681 h 667797"/>
              <a:gd name="connsiteX246" fmla="*/ 117213 w 667724"/>
              <a:gd name="connsiteY246" fmla="*/ 220691 h 667797"/>
              <a:gd name="connsiteX247" fmla="*/ 118781 w 667724"/>
              <a:gd name="connsiteY247" fmla="*/ 217737 h 667797"/>
              <a:gd name="connsiteX248" fmla="*/ 120276 w 667724"/>
              <a:gd name="connsiteY248" fmla="*/ 215002 h 667797"/>
              <a:gd name="connsiteX249" fmla="*/ 122039 w 667724"/>
              <a:gd name="connsiteY249" fmla="*/ 211903 h 667797"/>
              <a:gd name="connsiteX250" fmla="*/ 123984 w 667724"/>
              <a:gd name="connsiteY250" fmla="*/ 208596 h 667797"/>
              <a:gd name="connsiteX251" fmla="*/ 125454 w 667724"/>
              <a:gd name="connsiteY251" fmla="*/ 206165 h 667797"/>
              <a:gd name="connsiteX252" fmla="*/ 127217 w 667724"/>
              <a:gd name="connsiteY252" fmla="*/ 203333 h 667797"/>
              <a:gd name="connsiteX253" fmla="*/ 131471 w 667724"/>
              <a:gd name="connsiteY253" fmla="*/ 196842 h 667797"/>
              <a:gd name="connsiteX254" fmla="*/ 133526 w 667724"/>
              <a:gd name="connsiteY254" fmla="*/ 193864 h 667797"/>
              <a:gd name="connsiteX255" fmla="*/ 135726 w 667724"/>
              <a:gd name="connsiteY255" fmla="*/ 190777 h 667797"/>
              <a:gd name="connsiteX256" fmla="*/ 137974 w 667724"/>
              <a:gd name="connsiteY256" fmla="*/ 187726 h 667797"/>
              <a:gd name="connsiteX257" fmla="*/ 139640 w 667724"/>
              <a:gd name="connsiteY257" fmla="*/ 185526 h 667797"/>
              <a:gd name="connsiteX258" fmla="*/ 142605 w 667724"/>
              <a:gd name="connsiteY258" fmla="*/ 181721 h 667797"/>
              <a:gd name="connsiteX259" fmla="*/ 144988 w 667724"/>
              <a:gd name="connsiteY259" fmla="*/ 178767 h 667797"/>
              <a:gd name="connsiteX260" fmla="*/ 152378 w 667724"/>
              <a:gd name="connsiteY260" fmla="*/ 170174 h 667797"/>
              <a:gd name="connsiteX261" fmla="*/ 154943 w 667724"/>
              <a:gd name="connsiteY261" fmla="*/ 167378 h 667797"/>
              <a:gd name="connsiteX262" fmla="*/ 157532 w 667724"/>
              <a:gd name="connsiteY262" fmla="*/ 164631 h 667797"/>
              <a:gd name="connsiteX263" fmla="*/ 160158 w 667724"/>
              <a:gd name="connsiteY263" fmla="*/ 161920 h 667797"/>
              <a:gd name="connsiteX264" fmla="*/ 164923 w 667724"/>
              <a:gd name="connsiteY264" fmla="*/ 157240 h 667797"/>
              <a:gd name="connsiteX265" fmla="*/ 166418 w 667724"/>
              <a:gd name="connsiteY265" fmla="*/ 155830 h 667797"/>
              <a:gd name="connsiteX266" fmla="*/ 168338 w 667724"/>
              <a:gd name="connsiteY266" fmla="*/ 154044 h 667797"/>
              <a:gd name="connsiteX267" fmla="*/ 170866 w 667724"/>
              <a:gd name="connsiteY267" fmla="*/ 151746 h 667797"/>
              <a:gd name="connsiteX268" fmla="*/ 176847 w 667724"/>
              <a:gd name="connsiteY268" fmla="*/ 146556 h 667797"/>
              <a:gd name="connsiteX269" fmla="*/ 179752 w 667724"/>
              <a:gd name="connsiteY269" fmla="*/ 144149 h 667797"/>
              <a:gd name="connsiteX270" fmla="*/ 183180 w 667724"/>
              <a:gd name="connsiteY270" fmla="*/ 141390 h 667797"/>
              <a:gd name="connsiteX271" fmla="*/ 185258 w 667724"/>
              <a:gd name="connsiteY271" fmla="*/ 139785 h 667797"/>
              <a:gd name="connsiteX272" fmla="*/ 201364 w 667724"/>
              <a:gd name="connsiteY272" fmla="*/ 128408 h 667797"/>
              <a:gd name="connsiteX273" fmla="*/ 204378 w 667724"/>
              <a:gd name="connsiteY273" fmla="*/ 126512 h 667797"/>
              <a:gd name="connsiteX274" fmla="*/ 206858 w 667724"/>
              <a:gd name="connsiteY274" fmla="*/ 124980 h 667797"/>
              <a:gd name="connsiteX275" fmla="*/ 208657 w 667724"/>
              <a:gd name="connsiteY275" fmla="*/ 123886 h 667797"/>
              <a:gd name="connsiteX276" fmla="*/ 214188 w 667724"/>
              <a:gd name="connsiteY276" fmla="*/ 120677 h 667797"/>
              <a:gd name="connsiteX277" fmla="*/ 217518 w 667724"/>
              <a:gd name="connsiteY277" fmla="*/ 118842 h 667797"/>
              <a:gd name="connsiteX278" fmla="*/ 220885 w 667724"/>
              <a:gd name="connsiteY278" fmla="*/ 117043 h 667797"/>
              <a:gd name="connsiteX279" fmla="*/ 226987 w 667724"/>
              <a:gd name="connsiteY279" fmla="*/ 113968 h 667797"/>
              <a:gd name="connsiteX280" fmla="*/ 231533 w 667724"/>
              <a:gd name="connsiteY280" fmla="*/ 111816 h 667797"/>
              <a:gd name="connsiteX281" fmla="*/ 234645 w 667724"/>
              <a:gd name="connsiteY281" fmla="*/ 110394 h 667797"/>
              <a:gd name="connsiteX282" fmla="*/ 238158 w 667724"/>
              <a:gd name="connsiteY282" fmla="*/ 108862 h 667797"/>
              <a:gd name="connsiteX283" fmla="*/ 242376 w 667724"/>
              <a:gd name="connsiteY283" fmla="*/ 107112 h 667797"/>
              <a:gd name="connsiteX284" fmla="*/ 245281 w 667724"/>
              <a:gd name="connsiteY284" fmla="*/ 105957 h 667797"/>
              <a:gd name="connsiteX285" fmla="*/ 252489 w 667724"/>
              <a:gd name="connsiteY285" fmla="*/ 103271 h 667797"/>
              <a:gd name="connsiteX286" fmla="*/ 255139 w 667724"/>
              <a:gd name="connsiteY286" fmla="*/ 102347 h 667797"/>
              <a:gd name="connsiteX287" fmla="*/ 257716 w 667724"/>
              <a:gd name="connsiteY287" fmla="*/ 101496 h 667797"/>
              <a:gd name="connsiteX288" fmla="*/ 259855 w 667724"/>
              <a:gd name="connsiteY288" fmla="*/ 100791 h 667797"/>
              <a:gd name="connsiteX289" fmla="*/ 262651 w 667724"/>
              <a:gd name="connsiteY289" fmla="*/ 99928 h 667797"/>
              <a:gd name="connsiteX290" fmla="*/ 267841 w 667724"/>
              <a:gd name="connsiteY290" fmla="*/ 98409 h 667797"/>
              <a:gd name="connsiteX291" fmla="*/ 270916 w 667724"/>
              <a:gd name="connsiteY291" fmla="*/ 97582 h 667797"/>
              <a:gd name="connsiteX292" fmla="*/ 271087 w 667724"/>
              <a:gd name="connsiteY292" fmla="*/ 97534 h 667797"/>
              <a:gd name="connsiteX293" fmla="*/ 274757 w 667724"/>
              <a:gd name="connsiteY293" fmla="*/ 96586 h 667797"/>
              <a:gd name="connsiteX294" fmla="*/ 277371 w 667724"/>
              <a:gd name="connsiteY294" fmla="*/ 95954 h 667797"/>
              <a:gd name="connsiteX295" fmla="*/ 278319 w 667724"/>
              <a:gd name="connsiteY295" fmla="*/ 95735 h 667797"/>
              <a:gd name="connsiteX296" fmla="*/ 281115 w 667724"/>
              <a:gd name="connsiteY296" fmla="*/ 95103 h 667797"/>
              <a:gd name="connsiteX297" fmla="*/ 281346 w 667724"/>
              <a:gd name="connsiteY297" fmla="*/ 95054 h 667797"/>
              <a:gd name="connsiteX298" fmla="*/ 284105 w 667724"/>
              <a:gd name="connsiteY298" fmla="*/ 94471 h 667797"/>
              <a:gd name="connsiteX299" fmla="*/ 284494 w 667724"/>
              <a:gd name="connsiteY299" fmla="*/ 94398 h 667797"/>
              <a:gd name="connsiteX300" fmla="*/ 287302 w 667724"/>
              <a:gd name="connsiteY300" fmla="*/ 93839 h 667797"/>
              <a:gd name="connsiteX301" fmla="*/ 290097 w 667724"/>
              <a:gd name="connsiteY301" fmla="*/ 93316 h 667797"/>
              <a:gd name="connsiteX302" fmla="*/ 293367 w 667724"/>
              <a:gd name="connsiteY302" fmla="*/ 92745 h 667797"/>
              <a:gd name="connsiteX303" fmla="*/ 294485 w 667724"/>
              <a:gd name="connsiteY303" fmla="*/ 92562 h 667797"/>
              <a:gd name="connsiteX304" fmla="*/ 297755 w 667724"/>
              <a:gd name="connsiteY304" fmla="*/ 92064 h 667797"/>
              <a:gd name="connsiteX305" fmla="*/ 298071 w 667724"/>
              <a:gd name="connsiteY305" fmla="*/ 92015 h 667797"/>
              <a:gd name="connsiteX306" fmla="*/ 301815 w 667724"/>
              <a:gd name="connsiteY306" fmla="*/ 91493 h 667797"/>
              <a:gd name="connsiteX307" fmla="*/ 305644 w 667724"/>
              <a:gd name="connsiteY307" fmla="*/ 91019 h 667797"/>
              <a:gd name="connsiteX308" fmla="*/ 305778 w 667724"/>
              <a:gd name="connsiteY308" fmla="*/ 91006 h 667797"/>
              <a:gd name="connsiteX309" fmla="*/ 309740 w 667724"/>
              <a:gd name="connsiteY309" fmla="*/ 90581 h 667797"/>
              <a:gd name="connsiteX310" fmla="*/ 312597 w 667724"/>
              <a:gd name="connsiteY310" fmla="*/ 90314 h 667797"/>
              <a:gd name="connsiteX311" fmla="*/ 314967 w 667724"/>
              <a:gd name="connsiteY311" fmla="*/ 90119 h 667797"/>
              <a:gd name="connsiteX312" fmla="*/ 326381 w 667724"/>
              <a:gd name="connsiteY312" fmla="*/ 89511 h 667797"/>
              <a:gd name="connsiteX313" fmla="*/ 329578 w 667724"/>
              <a:gd name="connsiteY313" fmla="*/ 89438 h 667797"/>
              <a:gd name="connsiteX314" fmla="*/ 333917 w 667724"/>
              <a:gd name="connsiteY314" fmla="*/ 89402 h 667797"/>
              <a:gd name="connsiteX315" fmla="*/ 345501 w 667724"/>
              <a:gd name="connsiteY315" fmla="*/ 89681 h 667797"/>
              <a:gd name="connsiteX316" fmla="*/ 423295 w 667724"/>
              <a:gd name="connsiteY316" fmla="*/ 106286 h 667797"/>
              <a:gd name="connsiteX317" fmla="*/ 426236 w 667724"/>
              <a:gd name="connsiteY317" fmla="*/ 107477 h 667797"/>
              <a:gd name="connsiteX318" fmla="*/ 428607 w 667724"/>
              <a:gd name="connsiteY318" fmla="*/ 108461 h 667797"/>
              <a:gd name="connsiteX319" fmla="*/ 431986 w 667724"/>
              <a:gd name="connsiteY319" fmla="*/ 109908 h 667797"/>
              <a:gd name="connsiteX320" fmla="*/ 435413 w 667724"/>
              <a:gd name="connsiteY320" fmla="*/ 111452 h 667797"/>
              <a:gd name="connsiteX321" fmla="*/ 443302 w 667724"/>
              <a:gd name="connsiteY321" fmla="*/ 115232 h 667797"/>
              <a:gd name="connsiteX322" fmla="*/ 446074 w 667724"/>
              <a:gd name="connsiteY322" fmla="*/ 116654 h 667797"/>
              <a:gd name="connsiteX323" fmla="*/ 448833 w 667724"/>
              <a:gd name="connsiteY323" fmla="*/ 118100 h 667797"/>
              <a:gd name="connsiteX324" fmla="*/ 452078 w 667724"/>
              <a:gd name="connsiteY324" fmla="*/ 119863 h 667797"/>
              <a:gd name="connsiteX325" fmla="*/ 455555 w 667724"/>
              <a:gd name="connsiteY325" fmla="*/ 121832 h 667797"/>
              <a:gd name="connsiteX326" fmla="*/ 486417 w 667724"/>
              <a:gd name="connsiteY326" fmla="*/ 142873 h 667797"/>
              <a:gd name="connsiteX327" fmla="*/ 488508 w 667724"/>
              <a:gd name="connsiteY327" fmla="*/ 144575 h 667797"/>
              <a:gd name="connsiteX328" fmla="*/ 492312 w 667724"/>
              <a:gd name="connsiteY328" fmla="*/ 147735 h 667797"/>
              <a:gd name="connsiteX329" fmla="*/ 494646 w 667724"/>
              <a:gd name="connsiteY329" fmla="*/ 149753 h 667797"/>
              <a:gd name="connsiteX330" fmla="*/ 496956 w 667724"/>
              <a:gd name="connsiteY330" fmla="*/ 151795 h 667797"/>
              <a:gd name="connsiteX331" fmla="*/ 501538 w 667724"/>
              <a:gd name="connsiteY331" fmla="*/ 156013 h 667797"/>
              <a:gd name="connsiteX332" fmla="*/ 503750 w 667724"/>
              <a:gd name="connsiteY332" fmla="*/ 158116 h 667797"/>
              <a:gd name="connsiteX333" fmla="*/ 505963 w 667724"/>
              <a:gd name="connsiteY333" fmla="*/ 160267 h 667797"/>
              <a:gd name="connsiteX334" fmla="*/ 508041 w 667724"/>
              <a:gd name="connsiteY334" fmla="*/ 162358 h 667797"/>
              <a:gd name="connsiteX335" fmla="*/ 510095 w 667724"/>
              <a:gd name="connsiteY335" fmla="*/ 164461 h 667797"/>
              <a:gd name="connsiteX336" fmla="*/ 515589 w 667724"/>
              <a:gd name="connsiteY336" fmla="*/ 170344 h 667797"/>
              <a:gd name="connsiteX337" fmla="*/ 518081 w 667724"/>
              <a:gd name="connsiteY337" fmla="*/ 173152 h 667797"/>
              <a:gd name="connsiteX338" fmla="*/ 518701 w 667724"/>
              <a:gd name="connsiteY338" fmla="*/ 173881 h 667797"/>
              <a:gd name="connsiteX339" fmla="*/ 520573 w 667724"/>
              <a:gd name="connsiteY339" fmla="*/ 176081 h 667797"/>
              <a:gd name="connsiteX340" fmla="*/ 521886 w 667724"/>
              <a:gd name="connsiteY340" fmla="*/ 177649 h 667797"/>
              <a:gd name="connsiteX341" fmla="*/ 537761 w 667724"/>
              <a:gd name="connsiteY341" fmla="*/ 198969 h 667797"/>
              <a:gd name="connsiteX342" fmla="*/ 539839 w 667724"/>
              <a:gd name="connsiteY342" fmla="*/ 202178 h 667797"/>
              <a:gd name="connsiteX343" fmla="*/ 544215 w 667724"/>
              <a:gd name="connsiteY343" fmla="*/ 209277 h 667797"/>
              <a:gd name="connsiteX344" fmla="*/ 545552 w 667724"/>
              <a:gd name="connsiteY344" fmla="*/ 211574 h 667797"/>
              <a:gd name="connsiteX345" fmla="*/ 548579 w 667724"/>
              <a:gd name="connsiteY345" fmla="*/ 216935 h 667797"/>
              <a:gd name="connsiteX346" fmla="*/ 549880 w 667724"/>
              <a:gd name="connsiteY346" fmla="*/ 219366 h 667797"/>
              <a:gd name="connsiteX347" fmla="*/ 552335 w 667724"/>
              <a:gd name="connsiteY347" fmla="*/ 224106 h 667797"/>
              <a:gd name="connsiteX348" fmla="*/ 554316 w 667724"/>
              <a:gd name="connsiteY348" fmla="*/ 228142 h 667797"/>
              <a:gd name="connsiteX349" fmla="*/ 555228 w 667724"/>
              <a:gd name="connsiteY349" fmla="*/ 230026 h 667797"/>
              <a:gd name="connsiteX350" fmla="*/ 556480 w 667724"/>
              <a:gd name="connsiteY350" fmla="*/ 232737 h 667797"/>
              <a:gd name="connsiteX351" fmla="*/ 557695 w 667724"/>
              <a:gd name="connsiteY351" fmla="*/ 235447 h 667797"/>
              <a:gd name="connsiteX352" fmla="*/ 557732 w 667724"/>
              <a:gd name="connsiteY352" fmla="*/ 235532 h 667797"/>
              <a:gd name="connsiteX353" fmla="*/ 560041 w 667724"/>
              <a:gd name="connsiteY353" fmla="*/ 240966 h 667797"/>
              <a:gd name="connsiteX354" fmla="*/ 561160 w 667724"/>
              <a:gd name="connsiteY354" fmla="*/ 243749 h 667797"/>
              <a:gd name="connsiteX355" fmla="*/ 562254 w 667724"/>
              <a:gd name="connsiteY355" fmla="*/ 246545 h 667797"/>
              <a:gd name="connsiteX356" fmla="*/ 563299 w 667724"/>
              <a:gd name="connsiteY356" fmla="*/ 249353 h 667797"/>
              <a:gd name="connsiteX357" fmla="*/ 564320 w 667724"/>
              <a:gd name="connsiteY357" fmla="*/ 252185 h 667797"/>
              <a:gd name="connsiteX358" fmla="*/ 565779 w 667724"/>
              <a:gd name="connsiteY358" fmla="*/ 256415 h 667797"/>
              <a:gd name="connsiteX359" fmla="*/ 566739 w 667724"/>
              <a:gd name="connsiteY359" fmla="*/ 259332 h 667797"/>
              <a:gd name="connsiteX360" fmla="*/ 567590 w 667724"/>
              <a:gd name="connsiteY360" fmla="*/ 262079 h 667797"/>
              <a:gd name="connsiteX361" fmla="*/ 568769 w 667724"/>
              <a:gd name="connsiteY361" fmla="*/ 266018 h 667797"/>
              <a:gd name="connsiteX362" fmla="*/ 569060 w 667724"/>
              <a:gd name="connsiteY362" fmla="*/ 267027 h 667797"/>
              <a:gd name="connsiteX363" fmla="*/ 569741 w 667724"/>
              <a:gd name="connsiteY363" fmla="*/ 269494 h 667797"/>
              <a:gd name="connsiteX364" fmla="*/ 571273 w 667724"/>
              <a:gd name="connsiteY364" fmla="*/ 275377 h 667797"/>
              <a:gd name="connsiteX365" fmla="*/ 572646 w 667724"/>
              <a:gd name="connsiteY365" fmla="*/ 281309 h 667797"/>
              <a:gd name="connsiteX366" fmla="*/ 573291 w 667724"/>
              <a:gd name="connsiteY366" fmla="*/ 284311 h 667797"/>
              <a:gd name="connsiteX367" fmla="*/ 573886 w 667724"/>
              <a:gd name="connsiteY367" fmla="*/ 287314 h 667797"/>
              <a:gd name="connsiteX368" fmla="*/ 574445 w 667724"/>
              <a:gd name="connsiteY368" fmla="*/ 290340 h 667797"/>
              <a:gd name="connsiteX369" fmla="*/ 574956 w 667724"/>
              <a:gd name="connsiteY369" fmla="*/ 293246 h 667797"/>
              <a:gd name="connsiteX370" fmla="*/ 574992 w 667724"/>
              <a:gd name="connsiteY370" fmla="*/ 293501 h 667797"/>
              <a:gd name="connsiteX371" fmla="*/ 575454 w 667724"/>
              <a:gd name="connsiteY371" fmla="*/ 296406 h 667797"/>
              <a:gd name="connsiteX372" fmla="*/ 575904 w 667724"/>
              <a:gd name="connsiteY372" fmla="*/ 299457 h 667797"/>
              <a:gd name="connsiteX373" fmla="*/ 576317 w 667724"/>
              <a:gd name="connsiteY373" fmla="*/ 302532 h 667797"/>
              <a:gd name="connsiteX374" fmla="*/ 577034 w 667724"/>
              <a:gd name="connsiteY374" fmla="*/ 308695 h 667797"/>
              <a:gd name="connsiteX375" fmla="*/ 577326 w 667724"/>
              <a:gd name="connsiteY375" fmla="*/ 311794 h 667797"/>
              <a:gd name="connsiteX376" fmla="*/ 577788 w 667724"/>
              <a:gd name="connsiteY376" fmla="*/ 317605 h 667797"/>
              <a:gd name="connsiteX377" fmla="*/ 577812 w 667724"/>
              <a:gd name="connsiteY377" fmla="*/ 318152 h 667797"/>
              <a:gd name="connsiteX378" fmla="*/ 577970 w 667724"/>
              <a:gd name="connsiteY378" fmla="*/ 320777 h 667797"/>
              <a:gd name="connsiteX379" fmla="*/ 578043 w 667724"/>
              <a:gd name="connsiteY379" fmla="*/ 322212 h 667797"/>
              <a:gd name="connsiteX380" fmla="*/ 578128 w 667724"/>
              <a:gd name="connsiteY380" fmla="*/ 324327 h 667797"/>
              <a:gd name="connsiteX381" fmla="*/ 578238 w 667724"/>
              <a:gd name="connsiteY381" fmla="*/ 327912 h 667797"/>
              <a:gd name="connsiteX382" fmla="*/ 578274 w 667724"/>
              <a:gd name="connsiteY382" fmla="*/ 330647 h 667797"/>
              <a:gd name="connsiteX383" fmla="*/ 578299 w 667724"/>
              <a:gd name="connsiteY383" fmla="*/ 333820 h 667797"/>
              <a:gd name="connsiteX384" fmla="*/ 578274 w 667724"/>
              <a:gd name="connsiteY384" fmla="*/ 336992 h 667797"/>
              <a:gd name="connsiteX385" fmla="*/ 578238 w 667724"/>
              <a:gd name="connsiteY385" fmla="*/ 339727 h 667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Lst>
            <a:rect l="l" t="t" r="r" b="b"/>
            <a:pathLst>
              <a:path w="667724" h="667797">
                <a:moveTo>
                  <a:pt x="423270" y="12155"/>
                </a:moveTo>
                <a:cubicBezTo>
                  <a:pt x="398376" y="5263"/>
                  <a:pt x="372340" y="1155"/>
                  <a:pt x="345489" y="231"/>
                </a:cubicBezTo>
                <a:cubicBezTo>
                  <a:pt x="344042" y="182"/>
                  <a:pt x="342608" y="146"/>
                  <a:pt x="341162" y="97"/>
                </a:cubicBezTo>
                <a:cubicBezTo>
                  <a:pt x="338731" y="49"/>
                  <a:pt x="336312" y="0"/>
                  <a:pt x="333881" y="0"/>
                </a:cubicBezTo>
                <a:cubicBezTo>
                  <a:pt x="278112" y="0"/>
                  <a:pt x="225553" y="13687"/>
                  <a:pt x="179339" y="37864"/>
                </a:cubicBezTo>
                <a:cubicBezTo>
                  <a:pt x="179169" y="37949"/>
                  <a:pt x="178998" y="38046"/>
                  <a:pt x="178828" y="38131"/>
                </a:cubicBezTo>
                <a:cubicBezTo>
                  <a:pt x="178682" y="38192"/>
                  <a:pt x="178561" y="38277"/>
                  <a:pt x="178415" y="38350"/>
                </a:cubicBezTo>
                <a:cubicBezTo>
                  <a:pt x="146884" y="54978"/>
                  <a:pt x="118319" y="76505"/>
                  <a:pt x="93778" y="101910"/>
                </a:cubicBezTo>
                <a:lnTo>
                  <a:pt x="93766" y="101910"/>
                </a:lnTo>
                <a:cubicBezTo>
                  <a:pt x="86570" y="109361"/>
                  <a:pt x="79714" y="117152"/>
                  <a:pt x="73223" y="125248"/>
                </a:cubicBezTo>
                <a:cubicBezTo>
                  <a:pt x="64192" y="136516"/>
                  <a:pt x="55866" y="148416"/>
                  <a:pt x="48317" y="160826"/>
                </a:cubicBezTo>
                <a:cubicBezTo>
                  <a:pt x="47965" y="161410"/>
                  <a:pt x="47588" y="162017"/>
                  <a:pt x="47235" y="162601"/>
                </a:cubicBezTo>
                <a:cubicBezTo>
                  <a:pt x="47223" y="162625"/>
                  <a:pt x="47211" y="162649"/>
                  <a:pt x="47199" y="162662"/>
                </a:cubicBezTo>
                <a:cubicBezTo>
                  <a:pt x="39383" y="175704"/>
                  <a:pt x="32442" y="189318"/>
                  <a:pt x="26462" y="203430"/>
                </a:cubicBezTo>
                <a:lnTo>
                  <a:pt x="26450" y="203430"/>
                </a:lnTo>
                <a:cubicBezTo>
                  <a:pt x="23204" y="211064"/>
                  <a:pt x="20239" y="218855"/>
                  <a:pt x="17552" y="226768"/>
                </a:cubicBezTo>
                <a:lnTo>
                  <a:pt x="17564" y="226768"/>
                </a:lnTo>
                <a:cubicBezTo>
                  <a:pt x="16094" y="231084"/>
                  <a:pt x="14732" y="235423"/>
                  <a:pt x="13444" y="239811"/>
                </a:cubicBezTo>
                <a:cubicBezTo>
                  <a:pt x="7317" y="260742"/>
                  <a:pt x="3197" y="282537"/>
                  <a:pt x="1264" y="304951"/>
                </a:cubicBezTo>
                <a:cubicBezTo>
                  <a:pt x="596" y="312658"/>
                  <a:pt x="207" y="320437"/>
                  <a:pt x="73" y="328289"/>
                </a:cubicBezTo>
                <a:cubicBezTo>
                  <a:pt x="37" y="330149"/>
                  <a:pt x="0" y="332021"/>
                  <a:pt x="0" y="333893"/>
                </a:cubicBezTo>
                <a:cubicBezTo>
                  <a:pt x="0" y="338487"/>
                  <a:pt x="109" y="343046"/>
                  <a:pt x="304" y="347592"/>
                </a:cubicBezTo>
                <a:cubicBezTo>
                  <a:pt x="948" y="363406"/>
                  <a:pt x="2686" y="378916"/>
                  <a:pt x="5446" y="394098"/>
                </a:cubicBezTo>
                <a:cubicBezTo>
                  <a:pt x="6211" y="398243"/>
                  <a:pt x="7026" y="402400"/>
                  <a:pt x="7950" y="406496"/>
                </a:cubicBezTo>
                <a:lnTo>
                  <a:pt x="7937" y="406496"/>
                </a:lnTo>
                <a:cubicBezTo>
                  <a:pt x="9688" y="414385"/>
                  <a:pt x="11730" y="422152"/>
                  <a:pt x="14027" y="429822"/>
                </a:cubicBezTo>
                <a:cubicBezTo>
                  <a:pt x="22341" y="457585"/>
                  <a:pt x="34156" y="483816"/>
                  <a:pt x="48974" y="508017"/>
                </a:cubicBezTo>
                <a:cubicBezTo>
                  <a:pt x="53872" y="516015"/>
                  <a:pt x="59099" y="523794"/>
                  <a:pt x="64630" y="531343"/>
                </a:cubicBezTo>
                <a:lnTo>
                  <a:pt x="64642" y="531343"/>
                </a:lnTo>
                <a:cubicBezTo>
                  <a:pt x="77927" y="549442"/>
                  <a:pt x="93012" y="566155"/>
                  <a:pt x="109604" y="581216"/>
                </a:cubicBezTo>
                <a:cubicBezTo>
                  <a:pt x="157483" y="624671"/>
                  <a:pt x="218005" y="654402"/>
                  <a:pt x="285041" y="664236"/>
                </a:cubicBezTo>
                <a:lnTo>
                  <a:pt x="285053" y="664236"/>
                </a:lnTo>
                <a:cubicBezTo>
                  <a:pt x="301001" y="666570"/>
                  <a:pt x="317277" y="667798"/>
                  <a:pt x="333868" y="667798"/>
                </a:cubicBezTo>
                <a:cubicBezTo>
                  <a:pt x="337746" y="667798"/>
                  <a:pt x="341611" y="667725"/>
                  <a:pt x="345452" y="667591"/>
                </a:cubicBezTo>
                <a:cubicBezTo>
                  <a:pt x="358082" y="667153"/>
                  <a:pt x="370517" y="666023"/>
                  <a:pt x="382745" y="664224"/>
                </a:cubicBezTo>
                <a:cubicBezTo>
                  <a:pt x="396541" y="662206"/>
                  <a:pt x="410045" y="659325"/>
                  <a:pt x="423246" y="655655"/>
                </a:cubicBezTo>
                <a:cubicBezTo>
                  <a:pt x="560005" y="617742"/>
                  <a:pt x="661477" y="494986"/>
                  <a:pt x="667421" y="347616"/>
                </a:cubicBezTo>
                <a:cubicBezTo>
                  <a:pt x="667615" y="343070"/>
                  <a:pt x="667725" y="338512"/>
                  <a:pt x="667725" y="333917"/>
                </a:cubicBezTo>
                <a:cubicBezTo>
                  <a:pt x="667725" y="180493"/>
                  <a:pt x="564223" y="51283"/>
                  <a:pt x="423234" y="12192"/>
                </a:cubicBezTo>
                <a:close/>
                <a:moveTo>
                  <a:pt x="578213" y="339788"/>
                </a:moveTo>
                <a:cubicBezTo>
                  <a:pt x="578177" y="340991"/>
                  <a:pt x="578141" y="342183"/>
                  <a:pt x="578104" y="343374"/>
                </a:cubicBezTo>
                <a:cubicBezTo>
                  <a:pt x="578080" y="344091"/>
                  <a:pt x="578043" y="344796"/>
                  <a:pt x="578019" y="345489"/>
                </a:cubicBezTo>
                <a:cubicBezTo>
                  <a:pt x="577995" y="345963"/>
                  <a:pt x="577970" y="346449"/>
                  <a:pt x="577946" y="346923"/>
                </a:cubicBezTo>
                <a:cubicBezTo>
                  <a:pt x="577910" y="347798"/>
                  <a:pt x="577861" y="348674"/>
                  <a:pt x="577788" y="349549"/>
                </a:cubicBezTo>
                <a:cubicBezTo>
                  <a:pt x="577776" y="349731"/>
                  <a:pt x="577764" y="349901"/>
                  <a:pt x="577764" y="350096"/>
                </a:cubicBezTo>
                <a:cubicBezTo>
                  <a:pt x="577630" y="352040"/>
                  <a:pt x="577484" y="353973"/>
                  <a:pt x="577302" y="355906"/>
                </a:cubicBezTo>
                <a:cubicBezTo>
                  <a:pt x="577217" y="356939"/>
                  <a:pt x="577107" y="357972"/>
                  <a:pt x="577010" y="359006"/>
                </a:cubicBezTo>
                <a:cubicBezTo>
                  <a:pt x="576791" y="361072"/>
                  <a:pt x="576560" y="363126"/>
                  <a:pt x="576293" y="365168"/>
                </a:cubicBezTo>
                <a:cubicBezTo>
                  <a:pt x="576171" y="366201"/>
                  <a:pt x="576026" y="367222"/>
                  <a:pt x="575880" y="368243"/>
                </a:cubicBezTo>
                <a:cubicBezTo>
                  <a:pt x="575600" y="370286"/>
                  <a:pt x="575284" y="372316"/>
                  <a:pt x="574944" y="374345"/>
                </a:cubicBezTo>
                <a:cubicBezTo>
                  <a:pt x="574761" y="375354"/>
                  <a:pt x="574603" y="376363"/>
                  <a:pt x="574421" y="377372"/>
                </a:cubicBezTo>
                <a:cubicBezTo>
                  <a:pt x="574226" y="378381"/>
                  <a:pt x="574056" y="379390"/>
                  <a:pt x="573862" y="380399"/>
                </a:cubicBezTo>
                <a:cubicBezTo>
                  <a:pt x="573655" y="381395"/>
                  <a:pt x="573461" y="382404"/>
                  <a:pt x="573266" y="383401"/>
                </a:cubicBezTo>
                <a:cubicBezTo>
                  <a:pt x="573060" y="384410"/>
                  <a:pt x="572841" y="385407"/>
                  <a:pt x="572622" y="386403"/>
                </a:cubicBezTo>
                <a:cubicBezTo>
                  <a:pt x="572184" y="388397"/>
                  <a:pt x="571723" y="390378"/>
                  <a:pt x="571248" y="392335"/>
                </a:cubicBezTo>
                <a:cubicBezTo>
                  <a:pt x="570774" y="394304"/>
                  <a:pt x="570264" y="396261"/>
                  <a:pt x="569717" y="398218"/>
                </a:cubicBezTo>
                <a:cubicBezTo>
                  <a:pt x="569498" y="399045"/>
                  <a:pt x="569267" y="399859"/>
                  <a:pt x="569036" y="400686"/>
                </a:cubicBezTo>
                <a:cubicBezTo>
                  <a:pt x="568939" y="401026"/>
                  <a:pt x="568842" y="401367"/>
                  <a:pt x="568744" y="401695"/>
                </a:cubicBezTo>
                <a:cubicBezTo>
                  <a:pt x="568380" y="403020"/>
                  <a:pt x="567991" y="404320"/>
                  <a:pt x="567565" y="405633"/>
                </a:cubicBezTo>
                <a:cubicBezTo>
                  <a:pt x="567286" y="406569"/>
                  <a:pt x="566994" y="407493"/>
                  <a:pt x="566702" y="408429"/>
                </a:cubicBezTo>
                <a:cubicBezTo>
                  <a:pt x="566435" y="409255"/>
                  <a:pt x="566167" y="410094"/>
                  <a:pt x="565888" y="410921"/>
                </a:cubicBezTo>
                <a:cubicBezTo>
                  <a:pt x="565694" y="411504"/>
                  <a:pt x="565499" y="412100"/>
                  <a:pt x="565305" y="412683"/>
                </a:cubicBezTo>
                <a:cubicBezTo>
                  <a:pt x="564988" y="413643"/>
                  <a:pt x="564648" y="414579"/>
                  <a:pt x="564308" y="415527"/>
                </a:cubicBezTo>
                <a:cubicBezTo>
                  <a:pt x="563980" y="416476"/>
                  <a:pt x="563639" y="417411"/>
                  <a:pt x="563287" y="418360"/>
                </a:cubicBezTo>
                <a:cubicBezTo>
                  <a:pt x="562946" y="419296"/>
                  <a:pt x="562594" y="420232"/>
                  <a:pt x="562241" y="421167"/>
                </a:cubicBezTo>
                <a:cubicBezTo>
                  <a:pt x="561524" y="423027"/>
                  <a:pt x="560783" y="424899"/>
                  <a:pt x="560017" y="426747"/>
                </a:cubicBezTo>
                <a:cubicBezTo>
                  <a:pt x="559263" y="428570"/>
                  <a:pt x="558498" y="430381"/>
                  <a:pt x="557707" y="432180"/>
                </a:cubicBezTo>
                <a:cubicBezTo>
                  <a:pt x="557695" y="432204"/>
                  <a:pt x="557683" y="432241"/>
                  <a:pt x="557671" y="432265"/>
                </a:cubicBezTo>
                <a:cubicBezTo>
                  <a:pt x="557270" y="433177"/>
                  <a:pt x="556869" y="434064"/>
                  <a:pt x="556455" y="434976"/>
                </a:cubicBezTo>
                <a:cubicBezTo>
                  <a:pt x="556042" y="435887"/>
                  <a:pt x="555629" y="436775"/>
                  <a:pt x="555204" y="437686"/>
                </a:cubicBezTo>
                <a:cubicBezTo>
                  <a:pt x="554802" y="438525"/>
                  <a:pt x="554401" y="439376"/>
                  <a:pt x="553988" y="440215"/>
                </a:cubicBezTo>
                <a:cubicBezTo>
                  <a:pt x="553952" y="440288"/>
                  <a:pt x="553915" y="440373"/>
                  <a:pt x="553879" y="440458"/>
                </a:cubicBezTo>
                <a:cubicBezTo>
                  <a:pt x="553453" y="441321"/>
                  <a:pt x="553040" y="442196"/>
                  <a:pt x="552602" y="443047"/>
                </a:cubicBezTo>
                <a:cubicBezTo>
                  <a:pt x="551703" y="444822"/>
                  <a:pt x="550803" y="446596"/>
                  <a:pt x="549867" y="448347"/>
                </a:cubicBezTo>
                <a:cubicBezTo>
                  <a:pt x="549430" y="449149"/>
                  <a:pt x="549004" y="449963"/>
                  <a:pt x="548567" y="450778"/>
                </a:cubicBezTo>
                <a:cubicBezTo>
                  <a:pt x="547582" y="452577"/>
                  <a:pt x="546573" y="454364"/>
                  <a:pt x="545540" y="456138"/>
                </a:cubicBezTo>
                <a:cubicBezTo>
                  <a:pt x="545090" y="456928"/>
                  <a:pt x="544628" y="457706"/>
                  <a:pt x="544179" y="458484"/>
                </a:cubicBezTo>
                <a:cubicBezTo>
                  <a:pt x="542112" y="461961"/>
                  <a:pt x="539961" y="465364"/>
                  <a:pt x="537749" y="468731"/>
                </a:cubicBezTo>
                <a:cubicBezTo>
                  <a:pt x="537202" y="469545"/>
                  <a:pt x="536655" y="470360"/>
                  <a:pt x="536083" y="471186"/>
                </a:cubicBezTo>
                <a:cubicBezTo>
                  <a:pt x="535548" y="472001"/>
                  <a:pt x="534989" y="472803"/>
                  <a:pt x="534406" y="473630"/>
                </a:cubicBezTo>
                <a:cubicBezTo>
                  <a:pt x="533847" y="474432"/>
                  <a:pt x="533275" y="475234"/>
                  <a:pt x="532692" y="476036"/>
                </a:cubicBezTo>
                <a:cubicBezTo>
                  <a:pt x="532121" y="476839"/>
                  <a:pt x="531537" y="477629"/>
                  <a:pt x="530954" y="478419"/>
                </a:cubicBezTo>
                <a:cubicBezTo>
                  <a:pt x="530370" y="479221"/>
                  <a:pt x="529775" y="479999"/>
                  <a:pt x="529191" y="480789"/>
                </a:cubicBezTo>
                <a:cubicBezTo>
                  <a:pt x="528596" y="481579"/>
                  <a:pt x="528000" y="482357"/>
                  <a:pt x="527392" y="483135"/>
                </a:cubicBezTo>
                <a:cubicBezTo>
                  <a:pt x="526809" y="483913"/>
                  <a:pt x="526189" y="484679"/>
                  <a:pt x="525593" y="485444"/>
                </a:cubicBezTo>
                <a:cubicBezTo>
                  <a:pt x="525593" y="485444"/>
                  <a:pt x="525581" y="485453"/>
                  <a:pt x="525569" y="485469"/>
                </a:cubicBezTo>
                <a:cubicBezTo>
                  <a:pt x="524961" y="486235"/>
                  <a:pt x="524354" y="487000"/>
                  <a:pt x="523734" y="487766"/>
                </a:cubicBezTo>
                <a:cubicBezTo>
                  <a:pt x="522518" y="489261"/>
                  <a:pt x="521290" y="490732"/>
                  <a:pt x="520051" y="492191"/>
                </a:cubicBezTo>
                <a:cubicBezTo>
                  <a:pt x="519965" y="492288"/>
                  <a:pt x="519880" y="492397"/>
                  <a:pt x="519795" y="492495"/>
                </a:cubicBezTo>
                <a:cubicBezTo>
                  <a:pt x="519212" y="493175"/>
                  <a:pt x="518628" y="493844"/>
                  <a:pt x="518045" y="494524"/>
                </a:cubicBezTo>
                <a:cubicBezTo>
                  <a:pt x="517364" y="495290"/>
                  <a:pt x="516696" y="496056"/>
                  <a:pt x="516015" y="496822"/>
                </a:cubicBezTo>
                <a:cubicBezTo>
                  <a:pt x="515383" y="497527"/>
                  <a:pt x="514739" y="498232"/>
                  <a:pt x="514094" y="498912"/>
                </a:cubicBezTo>
                <a:cubicBezTo>
                  <a:pt x="512782" y="500371"/>
                  <a:pt x="511445" y="501793"/>
                  <a:pt x="510059" y="503215"/>
                </a:cubicBezTo>
                <a:cubicBezTo>
                  <a:pt x="509378" y="503920"/>
                  <a:pt x="508698" y="504638"/>
                  <a:pt x="508005" y="505318"/>
                </a:cubicBezTo>
                <a:cubicBezTo>
                  <a:pt x="507312" y="506023"/>
                  <a:pt x="506631" y="506728"/>
                  <a:pt x="505926" y="507409"/>
                </a:cubicBezTo>
                <a:cubicBezTo>
                  <a:pt x="505197" y="508138"/>
                  <a:pt x="504455" y="508855"/>
                  <a:pt x="503714" y="509560"/>
                </a:cubicBezTo>
                <a:cubicBezTo>
                  <a:pt x="502972" y="510278"/>
                  <a:pt x="502231" y="510995"/>
                  <a:pt x="501477" y="511688"/>
                </a:cubicBezTo>
                <a:cubicBezTo>
                  <a:pt x="499229" y="513803"/>
                  <a:pt x="496931" y="515881"/>
                  <a:pt x="494609" y="517911"/>
                </a:cubicBezTo>
                <a:cubicBezTo>
                  <a:pt x="493832" y="518592"/>
                  <a:pt x="493054" y="519260"/>
                  <a:pt x="492276" y="519929"/>
                </a:cubicBezTo>
                <a:cubicBezTo>
                  <a:pt x="490817" y="521169"/>
                  <a:pt x="489371" y="522384"/>
                  <a:pt x="487888" y="523576"/>
                </a:cubicBezTo>
                <a:cubicBezTo>
                  <a:pt x="485311" y="525678"/>
                  <a:pt x="482661" y="527733"/>
                  <a:pt x="479987" y="529726"/>
                </a:cubicBezTo>
                <a:cubicBezTo>
                  <a:pt x="479233" y="530297"/>
                  <a:pt x="478467" y="530857"/>
                  <a:pt x="477714" y="531416"/>
                </a:cubicBezTo>
                <a:cubicBezTo>
                  <a:pt x="476036" y="532643"/>
                  <a:pt x="474359" y="533822"/>
                  <a:pt x="472657" y="535001"/>
                </a:cubicBezTo>
                <a:cubicBezTo>
                  <a:pt x="471806" y="535585"/>
                  <a:pt x="470955" y="536181"/>
                  <a:pt x="470092" y="536752"/>
                </a:cubicBezTo>
                <a:cubicBezTo>
                  <a:pt x="468379" y="537919"/>
                  <a:pt x="466665" y="539037"/>
                  <a:pt x="464914" y="540143"/>
                </a:cubicBezTo>
                <a:cubicBezTo>
                  <a:pt x="464051" y="540690"/>
                  <a:pt x="463164" y="541237"/>
                  <a:pt x="462289" y="541784"/>
                </a:cubicBezTo>
                <a:cubicBezTo>
                  <a:pt x="460004" y="543206"/>
                  <a:pt x="457694" y="544580"/>
                  <a:pt x="455372" y="545905"/>
                </a:cubicBezTo>
                <a:cubicBezTo>
                  <a:pt x="454619" y="546342"/>
                  <a:pt x="453865" y="546768"/>
                  <a:pt x="453112" y="547193"/>
                </a:cubicBezTo>
                <a:cubicBezTo>
                  <a:pt x="452589" y="547473"/>
                  <a:pt x="452078" y="547764"/>
                  <a:pt x="451556" y="548056"/>
                </a:cubicBezTo>
                <a:cubicBezTo>
                  <a:pt x="450644" y="548555"/>
                  <a:pt x="449732" y="549041"/>
                  <a:pt x="448809" y="549539"/>
                </a:cubicBezTo>
                <a:cubicBezTo>
                  <a:pt x="447897" y="550025"/>
                  <a:pt x="446985" y="550512"/>
                  <a:pt x="446049" y="550986"/>
                </a:cubicBezTo>
                <a:cubicBezTo>
                  <a:pt x="445125" y="551472"/>
                  <a:pt x="444202" y="551946"/>
                  <a:pt x="443278" y="552408"/>
                </a:cubicBezTo>
                <a:cubicBezTo>
                  <a:pt x="438464" y="554814"/>
                  <a:pt x="433566" y="557075"/>
                  <a:pt x="428570" y="559178"/>
                </a:cubicBezTo>
                <a:cubicBezTo>
                  <a:pt x="427792" y="559506"/>
                  <a:pt x="427002" y="559847"/>
                  <a:pt x="426200" y="560163"/>
                </a:cubicBezTo>
                <a:cubicBezTo>
                  <a:pt x="425227" y="560576"/>
                  <a:pt x="424243" y="560965"/>
                  <a:pt x="423258" y="561354"/>
                </a:cubicBezTo>
                <a:cubicBezTo>
                  <a:pt x="398984" y="570896"/>
                  <a:pt x="372814" y="576682"/>
                  <a:pt x="345465" y="577958"/>
                </a:cubicBezTo>
                <a:lnTo>
                  <a:pt x="345355" y="577958"/>
                </a:lnTo>
                <a:cubicBezTo>
                  <a:pt x="344431" y="578007"/>
                  <a:pt x="343520" y="578043"/>
                  <a:pt x="342596" y="578068"/>
                </a:cubicBezTo>
                <a:cubicBezTo>
                  <a:pt x="341624" y="578104"/>
                  <a:pt x="340663" y="578140"/>
                  <a:pt x="339703" y="578153"/>
                </a:cubicBezTo>
                <a:cubicBezTo>
                  <a:pt x="338731" y="578189"/>
                  <a:pt x="337758" y="578201"/>
                  <a:pt x="336798" y="578213"/>
                </a:cubicBezTo>
                <a:cubicBezTo>
                  <a:pt x="335838" y="578226"/>
                  <a:pt x="334853" y="578226"/>
                  <a:pt x="333893" y="578226"/>
                </a:cubicBezTo>
                <a:cubicBezTo>
                  <a:pt x="333054" y="578226"/>
                  <a:pt x="332203" y="578226"/>
                  <a:pt x="331365" y="578213"/>
                </a:cubicBezTo>
                <a:cubicBezTo>
                  <a:pt x="330817" y="578213"/>
                  <a:pt x="330270" y="578201"/>
                  <a:pt x="329723" y="578189"/>
                </a:cubicBezTo>
                <a:cubicBezTo>
                  <a:pt x="329128" y="578177"/>
                  <a:pt x="328520" y="578177"/>
                  <a:pt x="327912" y="578153"/>
                </a:cubicBezTo>
                <a:cubicBezTo>
                  <a:pt x="326928" y="578140"/>
                  <a:pt x="325931" y="578104"/>
                  <a:pt x="324934" y="578068"/>
                </a:cubicBezTo>
                <a:cubicBezTo>
                  <a:pt x="324399" y="578055"/>
                  <a:pt x="323852" y="578031"/>
                  <a:pt x="323318" y="578007"/>
                </a:cubicBezTo>
                <a:cubicBezTo>
                  <a:pt x="322649" y="577982"/>
                  <a:pt x="322005" y="577958"/>
                  <a:pt x="321349" y="577922"/>
                </a:cubicBezTo>
                <a:cubicBezTo>
                  <a:pt x="320522" y="577885"/>
                  <a:pt x="319683" y="577837"/>
                  <a:pt x="318857" y="577776"/>
                </a:cubicBezTo>
                <a:cubicBezTo>
                  <a:pt x="317398" y="577703"/>
                  <a:pt x="315964" y="577594"/>
                  <a:pt x="314529" y="577484"/>
                </a:cubicBezTo>
                <a:cubicBezTo>
                  <a:pt x="312670" y="577326"/>
                  <a:pt x="310810" y="577168"/>
                  <a:pt x="308962" y="576974"/>
                </a:cubicBezTo>
                <a:cubicBezTo>
                  <a:pt x="308148" y="576901"/>
                  <a:pt x="307321" y="576803"/>
                  <a:pt x="306495" y="576718"/>
                </a:cubicBezTo>
                <a:cubicBezTo>
                  <a:pt x="304866" y="576536"/>
                  <a:pt x="303237" y="576329"/>
                  <a:pt x="301608" y="576123"/>
                </a:cubicBezTo>
                <a:cubicBezTo>
                  <a:pt x="299992" y="575916"/>
                  <a:pt x="298363" y="575685"/>
                  <a:pt x="296758" y="575430"/>
                </a:cubicBezTo>
                <a:cubicBezTo>
                  <a:pt x="295944" y="575320"/>
                  <a:pt x="295142" y="575187"/>
                  <a:pt x="294327" y="575053"/>
                </a:cubicBezTo>
                <a:cubicBezTo>
                  <a:pt x="291921" y="574652"/>
                  <a:pt x="289514" y="574239"/>
                  <a:pt x="287132" y="573777"/>
                </a:cubicBezTo>
                <a:cubicBezTo>
                  <a:pt x="284871" y="573339"/>
                  <a:pt x="282610" y="572865"/>
                  <a:pt x="280385" y="572355"/>
                </a:cubicBezTo>
                <a:cubicBezTo>
                  <a:pt x="276070" y="571394"/>
                  <a:pt x="271792" y="570312"/>
                  <a:pt x="267574" y="569121"/>
                </a:cubicBezTo>
                <a:cubicBezTo>
                  <a:pt x="266650" y="568866"/>
                  <a:pt x="265738" y="568599"/>
                  <a:pt x="264827" y="568331"/>
                </a:cubicBezTo>
                <a:cubicBezTo>
                  <a:pt x="263903" y="568064"/>
                  <a:pt x="263003" y="567796"/>
                  <a:pt x="262092" y="567517"/>
                </a:cubicBezTo>
                <a:cubicBezTo>
                  <a:pt x="259126" y="566605"/>
                  <a:pt x="256196" y="565645"/>
                  <a:pt x="253279" y="564624"/>
                </a:cubicBezTo>
                <a:cubicBezTo>
                  <a:pt x="252611" y="564393"/>
                  <a:pt x="251954" y="564162"/>
                  <a:pt x="251298" y="563919"/>
                </a:cubicBezTo>
                <a:cubicBezTo>
                  <a:pt x="250410" y="563603"/>
                  <a:pt x="249523" y="563287"/>
                  <a:pt x="248636" y="562946"/>
                </a:cubicBezTo>
                <a:cubicBezTo>
                  <a:pt x="248064" y="562728"/>
                  <a:pt x="247469" y="562509"/>
                  <a:pt x="246885" y="562278"/>
                </a:cubicBezTo>
                <a:cubicBezTo>
                  <a:pt x="245706" y="561828"/>
                  <a:pt x="244539" y="561391"/>
                  <a:pt x="243360" y="560916"/>
                </a:cubicBezTo>
                <a:cubicBezTo>
                  <a:pt x="241878" y="560333"/>
                  <a:pt x="240407" y="559725"/>
                  <a:pt x="238960" y="559105"/>
                </a:cubicBezTo>
                <a:cubicBezTo>
                  <a:pt x="237489" y="558498"/>
                  <a:pt x="236055" y="557865"/>
                  <a:pt x="234609" y="557221"/>
                </a:cubicBezTo>
                <a:cubicBezTo>
                  <a:pt x="233162" y="556589"/>
                  <a:pt x="231728" y="555933"/>
                  <a:pt x="230294" y="555252"/>
                </a:cubicBezTo>
                <a:cubicBezTo>
                  <a:pt x="229017" y="554656"/>
                  <a:pt x="227753" y="554049"/>
                  <a:pt x="226489" y="553417"/>
                </a:cubicBezTo>
                <a:cubicBezTo>
                  <a:pt x="226246" y="553319"/>
                  <a:pt x="226003" y="553198"/>
                  <a:pt x="225760" y="553064"/>
                </a:cubicBezTo>
                <a:cubicBezTo>
                  <a:pt x="224435" y="552432"/>
                  <a:pt x="223122" y="551764"/>
                  <a:pt x="221797" y="551071"/>
                </a:cubicBezTo>
                <a:cubicBezTo>
                  <a:pt x="220387" y="550354"/>
                  <a:pt x="219001" y="549612"/>
                  <a:pt x="217628" y="548858"/>
                </a:cubicBezTo>
                <a:cubicBezTo>
                  <a:pt x="216242" y="548117"/>
                  <a:pt x="214868" y="547351"/>
                  <a:pt x="213507" y="546573"/>
                </a:cubicBezTo>
                <a:cubicBezTo>
                  <a:pt x="212146" y="545795"/>
                  <a:pt x="210784" y="545017"/>
                  <a:pt x="209435" y="544215"/>
                </a:cubicBezTo>
                <a:cubicBezTo>
                  <a:pt x="208086" y="543413"/>
                  <a:pt x="206737" y="542611"/>
                  <a:pt x="205400" y="541760"/>
                </a:cubicBezTo>
                <a:cubicBezTo>
                  <a:pt x="204075" y="540945"/>
                  <a:pt x="202750" y="540119"/>
                  <a:pt x="201425" y="539244"/>
                </a:cubicBezTo>
                <a:cubicBezTo>
                  <a:pt x="200112" y="538417"/>
                  <a:pt x="198799" y="537542"/>
                  <a:pt x="197511" y="536667"/>
                </a:cubicBezTo>
                <a:cubicBezTo>
                  <a:pt x="194910" y="534929"/>
                  <a:pt x="192357" y="533130"/>
                  <a:pt x="189829" y="531282"/>
                </a:cubicBezTo>
                <a:cubicBezTo>
                  <a:pt x="187398" y="529507"/>
                  <a:pt x="185003" y="527684"/>
                  <a:pt x="182645" y="525824"/>
                </a:cubicBezTo>
                <a:cubicBezTo>
                  <a:pt x="181685" y="525058"/>
                  <a:pt x="180724" y="524293"/>
                  <a:pt x="179776" y="523515"/>
                </a:cubicBezTo>
                <a:cubicBezTo>
                  <a:pt x="179156" y="523016"/>
                  <a:pt x="178524" y="522506"/>
                  <a:pt x="177916" y="521983"/>
                </a:cubicBezTo>
                <a:cubicBezTo>
                  <a:pt x="177601" y="521728"/>
                  <a:pt x="177297" y="521473"/>
                  <a:pt x="176981" y="521205"/>
                </a:cubicBezTo>
                <a:cubicBezTo>
                  <a:pt x="176251" y="520610"/>
                  <a:pt x="175534" y="519990"/>
                  <a:pt x="174829" y="519382"/>
                </a:cubicBezTo>
                <a:cubicBezTo>
                  <a:pt x="173383" y="518142"/>
                  <a:pt x="171948" y="516890"/>
                  <a:pt x="170538" y="515614"/>
                </a:cubicBezTo>
                <a:cubicBezTo>
                  <a:pt x="169821" y="514982"/>
                  <a:pt x="169104" y="514325"/>
                  <a:pt x="168411" y="513657"/>
                </a:cubicBezTo>
                <a:cubicBezTo>
                  <a:pt x="167585" y="512915"/>
                  <a:pt x="166770" y="512150"/>
                  <a:pt x="165944" y="511372"/>
                </a:cubicBezTo>
                <a:cubicBezTo>
                  <a:pt x="164740" y="510253"/>
                  <a:pt x="163573" y="509099"/>
                  <a:pt x="162394" y="507956"/>
                </a:cubicBezTo>
                <a:cubicBezTo>
                  <a:pt x="161689" y="507263"/>
                  <a:pt x="160996" y="506570"/>
                  <a:pt x="160304" y="505865"/>
                </a:cubicBezTo>
                <a:cubicBezTo>
                  <a:pt x="159659" y="505221"/>
                  <a:pt x="159039" y="504589"/>
                  <a:pt x="158432" y="503945"/>
                </a:cubicBezTo>
                <a:cubicBezTo>
                  <a:pt x="157423" y="502912"/>
                  <a:pt x="156414" y="501866"/>
                  <a:pt x="155441" y="500809"/>
                </a:cubicBezTo>
                <a:cubicBezTo>
                  <a:pt x="154664" y="499994"/>
                  <a:pt x="153910" y="499180"/>
                  <a:pt x="153156" y="498341"/>
                </a:cubicBezTo>
                <a:cubicBezTo>
                  <a:pt x="152476" y="497600"/>
                  <a:pt x="151807" y="496846"/>
                  <a:pt x="151138" y="496092"/>
                </a:cubicBezTo>
                <a:cubicBezTo>
                  <a:pt x="150166" y="494999"/>
                  <a:pt x="149194" y="493892"/>
                  <a:pt x="148258" y="492786"/>
                </a:cubicBezTo>
                <a:cubicBezTo>
                  <a:pt x="147601" y="492033"/>
                  <a:pt x="146969" y="491279"/>
                  <a:pt x="146337" y="490525"/>
                </a:cubicBezTo>
                <a:cubicBezTo>
                  <a:pt x="145061" y="489006"/>
                  <a:pt x="143809" y="487474"/>
                  <a:pt x="142581" y="485918"/>
                </a:cubicBezTo>
                <a:cubicBezTo>
                  <a:pt x="142095" y="485323"/>
                  <a:pt x="141609" y="484715"/>
                  <a:pt x="141135" y="484107"/>
                </a:cubicBezTo>
                <a:cubicBezTo>
                  <a:pt x="140734" y="483597"/>
                  <a:pt x="140345" y="483086"/>
                  <a:pt x="139956" y="482564"/>
                </a:cubicBezTo>
                <a:cubicBezTo>
                  <a:pt x="139263" y="481701"/>
                  <a:pt x="138606" y="480813"/>
                  <a:pt x="137950" y="479938"/>
                </a:cubicBezTo>
                <a:cubicBezTo>
                  <a:pt x="136820" y="478431"/>
                  <a:pt x="135713" y="476911"/>
                  <a:pt x="134632" y="475380"/>
                </a:cubicBezTo>
                <a:cubicBezTo>
                  <a:pt x="133842" y="474286"/>
                  <a:pt x="133064" y="473168"/>
                  <a:pt x="132310" y="472062"/>
                </a:cubicBezTo>
                <a:cubicBezTo>
                  <a:pt x="132152" y="471855"/>
                  <a:pt x="132018" y="471636"/>
                  <a:pt x="131872" y="471429"/>
                </a:cubicBezTo>
                <a:cubicBezTo>
                  <a:pt x="131350" y="470676"/>
                  <a:pt x="130827" y="469910"/>
                  <a:pt x="130329" y="469144"/>
                </a:cubicBezTo>
                <a:cubicBezTo>
                  <a:pt x="129466" y="467856"/>
                  <a:pt x="128603" y="466543"/>
                  <a:pt x="127776" y="465230"/>
                </a:cubicBezTo>
                <a:cubicBezTo>
                  <a:pt x="126852" y="463796"/>
                  <a:pt x="125953" y="462362"/>
                  <a:pt x="125065" y="460891"/>
                </a:cubicBezTo>
                <a:cubicBezTo>
                  <a:pt x="124409" y="459845"/>
                  <a:pt x="123777" y="458776"/>
                  <a:pt x="123145" y="457694"/>
                </a:cubicBezTo>
                <a:cubicBezTo>
                  <a:pt x="122707" y="456977"/>
                  <a:pt x="122306" y="456260"/>
                  <a:pt x="121893" y="455543"/>
                </a:cubicBezTo>
                <a:cubicBezTo>
                  <a:pt x="121079" y="454133"/>
                  <a:pt x="120288" y="452735"/>
                  <a:pt x="119510" y="451313"/>
                </a:cubicBezTo>
                <a:cubicBezTo>
                  <a:pt x="118976" y="450328"/>
                  <a:pt x="118441" y="449343"/>
                  <a:pt x="117930" y="448359"/>
                </a:cubicBezTo>
                <a:cubicBezTo>
                  <a:pt x="117505" y="447581"/>
                  <a:pt x="117104" y="446803"/>
                  <a:pt x="116703" y="446025"/>
                </a:cubicBezTo>
                <a:cubicBezTo>
                  <a:pt x="116229" y="445150"/>
                  <a:pt x="115779" y="444250"/>
                  <a:pt x="115341" y="443375"/>
                </a:cubicBezTo>
                <a:cubicBezTo>
                  <a:pt x="114892" y="442476"/>
                  <a:pt x="114442" y="441588"/>
                  <a:pt x="114016" y="440677"/>
                </a:cubicBezTo>
                <a:cubicBezTo>
                  <a:pt x="113141" y="438878"/>
                  <a:pt x="112278" y="437067"/>
                  <a:pt x="111464" y="435255"/>
                </a:cubicBezTo>
                <a:cubicBezTo>
                  <a:pt x="110625" y="433432"/>
                  <a:pt x="109823" y="431609"/>
                  <a:pt x="109020" y="429761"/>
                </a:cubicBezTo>
                <a:cubicBezTo>
                  <a:pt x="108656" y="428898"/>
                  <a:pt x="108279" y="428011"/>
                  <a:pt x="107927" y="427136"/>
                </a:cubicBezTo>
                <a:cubicBezTo>
                  <a:pt x="107878" y="427038"/>
                  <a:pt x="107841" y="426929"/>
                  <a:pt x="107793" y="426832"/>
                </a:cubicBezTo>
                <a:cubicBezTo>
                  <a:pt x="107428" y="425932"/>
                  <a:pt x="107051" y="425033"/>
                  <a:pt x="106699" y="424109"/>
                </a:cubicBezTo>
                <a:cubicBezTo>
                  <a:pt x="106298" y="423124"/>
                  <a:pt x="105921" y="422140"/>
                  <a:pt x="105532" y="421143"/>
                </a:cubicBezTo>
                <a:cubicBezTo>
                  <a:pt x="105167" y="420171"/>
                  <a:pt x="104790" y="419210"/>
                  <a:pt x="104450" y="418238"/>
                </a:cubicBezTo>
                <a:cubicBezTo>
                  <a:pt x="104085" y="417266"/>
                  <a:pt x="103733" y="416293"/>
                  <a:pt x="103393" y="415321"/>
                </a:cubicBezTo>
                <a:cubicBezTo>
                  <a:pt x="103040" y="414348"/>
                  <a:pt x="102700" y="413364"/>
                  <a:pt x="102372" y="412379"/>
                </a:cubicBezTo>
                <a:cubicBezTo>
                  <a:pt x="102031" y="411395"/>
                  <a:pt x="101691" y="410410"/>
                  <a:pt x="101387" y="409413"/>
                </a:cubicBezTo>
                <a:cubicBezTo>
                  <a:pt x="101059" y="408429"/>
                  <a:pt x="100731" y="407432"/>
                  <a:pt x="100427" y="406435"/>
                </a:cubicBezTo>
                <a:cubicBezTo>
                  <a:pt x="99977" y="405001"/>
                  <a:pt x="99552" y="403567"/>
                  <a:pt x="99138" y="402120"/>
                </a:cubicBezTo>
                <a:cubicBezTo>
                  <a:pt x="98713" y="400674"/>
                  <a:pt x="98312" y="399227"/>
                  <a:pt x="97923" y="397769"/>
                </a:cubicBezTo>
                <a:cubicBezTo>
                  <a:pt x="97510" y="396310"/>
                  <a:pt x="97145" y="394864"/>
                  <a:pt x="96768" y="393393"/>
                </a:cubicBezTo>
                <a:cubicBezTo>
                  <a:pt x="96355" y="391752"/>
                  <a:pt x="95966" y="390087"/>
                  <a:pt x="95577" y="388409"/>
                </a:cubicBezTo>
                <a:cubicBezTo>
                  <a:pt x="95309" y="387254"/>
                  <a:pt x="95054" y="386100"/>
                  <a:pt x="94811" y="384933"/>
                </a:cubicBezTo>
                <a:cubicBezTo>
                  <a:pt x="94762" y="384677"/>
                  <a:pt x="94702" y="384422"/>
                  <a:pt x="94653" y="384179"/>
                </a:cubicBezTo>
                <a:cubicBezTo>
                  <a:pt x="94361" y="382806"/>
                  <a:pt x="94082" y="381420"/>
                  <a:pt x="93826" y="380046"/>
                </a:cubicBezTo>
                <a:cubicBezTo>
                  <a:pt x="93535" y="378551"/>
                  <a:pt x="93267" y="377044"/>
                  <a:pt x="93012" y="375537"/>
                </a:cubicBezTo>
                <a:cubicBezTo>
                  <a:pt x="92708" y="373774"/>
                  <a:pt x="92416" y="372012"/>
                  <a:pt x="92161" y="370237"/>
                </a:cubicBezTo>
                <a:cubicBezTo>
                  <a:pt x="91991" y="369119"/>
                  <a:pt x="91833" y="367976"/>
                  <a:pt x="91675" y="366846"/>
                </a:cubicBezTo>
                <a:cubicBezTo>
                  <a:pt x="91517" y="365691"/>
                  <a:pt x="91371" y="364548"/>
                  <a:pt x="91237" y="363394"/>
                </a:cubicBezTo>
                <a:cubicBezTo>
                  <a:pt x="91128" y="362543"/>
                  <a:pt x="91031" y="361680"/>
                  <a:pt x="90946" y="360817"/>
                </a:cubicBezTo>
                <a:cubicBezTo>
                  <a:pt x="90800" y="359625"/>
                  <a:pt x="90690" y="358446"/>
                  <a:pt x="90581" y="357255"/>
                </a:cubicBezTo>
                <a:cubicBezTo>
                  <a:pt x="90314" y="354557"/>
                  <a:pt x="90107" y="351846"/>
                  <a:pt x="89949" y="349123"/>
                </a:cubicBezTo>
                <a:cubicBezTo>
                  <a:pt x="89937" y="349038"/>
                  <a:pt x="89937" y="348941"/>
                  <a:pt x="89937" y="348868"/>
                </a:cubicBezTo>
                <a:cubicBezTo>
                  <a:pt x="89876" y="347944"/>
                  <a:pt x="89827" y="347033"/>
                  <a:pt x="89779" y="346109"/>
                </a:cubicBezTo>
                <a:cubicBezTo>
                  <a:pt x="89742" y="345537"/>
                  <a:pt x="89718" y="344942"/>
                  <a:pt x="89706" y="344371"/>
                </a:cubicBezTo>
                <a:cubicBezTo>
                  <a:pt x="89682" y="343836"/>
                  <a:pt x="89657" y="343289"/>
                  <a:pt x="89645" y="342742"/>
                </a:cubicBezTo>
                <a:cubicBezTo>
                  <a:pt x="89596" y="341356"/>
                  <a:pt x="89560" y="339958"/>
                  <a:pt x="89536" y="338560"/>
                </a:cubicBezTo>
                <a:cubicBezTo>
                  <a:pt x="89499" y="336992"/>
                  <a:pt x="89487" y="335424"/>
                  <a:pt x="89487" y="333832"/>
                </a:cubicBezTo>
                <a:cubicBezTo>
                  <a:pt x="89487" y="332896"/>
                  <a:pt x="89499" y="331960"/>
                  <a:pt x="89499" y="331024"/>
                </a:cubicBezTo>
                <a:cubicBezTo>
                  <a:pt x="89511" y="330088"/>
                  <a:pt x="89523" y="329164"/>
                  <a:pt x="89548" y="328228"/>
                </a:cubicBezTo>
                <a:cubicBezTo>
                  <a:pt x="89596" y="326259"/>
                  <a:pt x="89657" y="324302"/>
                  <a:pt x="89767" y="322345"/>
                </a:cubicBezTo>
                <a:cubicBezTo>
                  <a:pt x="89803" y="321361"/>
                  <a:pt x="89852" y="320376"/>
                  <a:pt x="89925" y="319404"/>
                </a:cubicBezTo>
                <a:cubicBezTo>
                  <a:pt x="90022" y="317447"/>
                  <a:pt x="90168" y="315514"/>
                  <a:pt x="90338" y="313569"/>
                </a:cubicBezTo>
                <a:cubicBezTo>
                  <a:pt x="90435" y="312305"/>
                  <a:pt x="90557" y="311053"/>
                  <a:pt x="90678" y="309801"/>
                </a:cubicBezTo>
                <a:cubicBezTo>
                  <a:pt x="90836" y="308160"/>
                  <a:pt x="91006" y="306519"/>
                  <a:pt x="91201" y="304890"/>
                </a:cubicBezTo>
                <a:cubicBezTo>
                  <a:pt x="91298" y="304027"/>
                  <a:pt x="91408" y="303152"/>
                  <a:pt x="91517" y="302301"/>
                </a:cubicBezTo>
                <a:cubicBezTo>
                  <a:pt x="91736" y="300563"/>
                  <a:pt x="91979" y="298837"/>
                  <a:pt x="92246" y="297135"/>
                </a:cubicBezTo>
                <a:cubicBezTo>
                  <a:pt x="92502" y="295409"/>
                  <a:pt x="92769" y="293707"/>
                  <a:pt x="93073" y="291994"/>
                </a:cubicBezTo>
                <a:cubicBezTo>
                  <a:pt x="93352" y="290292"/>
                  <a:pt x="93668" y="288590"/>
                  <a:pt x="94009" y="286901"/>
                </a:cubicBezTo>
                <a:cubicBezTo>
                  <a:pt x="94665" y="283521"/>
                  <a:pt x="95382" y="280154"/>
                  <a:pt x="96197" y="276812"/>
                </a:cubicBezTo>
                <a:cubicBezTo>
                  <a:pt x="96391" y="275985"/>
                  <a:pt x="96598" y="275146"/>
                  <a:pt x="96804" y="274308"/>
                </a:cubicBezTo>
                <a:cubicBezTo>
                  <a:pt x="97011" y="273481"/>
                  <a:pt x="97218" y="272667"/>
                  <a:pt x="97437" y="271828"/>
                </a:cubicBezTo>
                <a:cubicBezTo>
                  <a:pt x="97643" y="271001"/>
                  <a:pt x="97862" y="270187"/>
                  <a:pt x="98105" y="269348"/>
                </a:cubicBezTo>
                <a:cubicBezTo>
                  <a:pt x="98324" y="268522"/>
                  <a:pt x="98555" y="267707"/>
                  <a:pt x="98786" y="266869"/>
                </a:cubicBezTo>
                <a:cubicBezTo>
                  <a:pt x="99017" y="266054"/>
                  <a:pt x="99260" y="265240"/>
                  <a:pt x="99503" y="264413"/>
                </a:cubicBezTo>
                <a:cubicBezTo>
                  <a:pt x="99977" y="262784"/>
                  <a:pt x="100475" y="261156"/>
                  <a:pt x="100998" y="259539"/>
                </a:cubicBezTo>
                <a:cubicBezTo>
                  <a:pt x="101521" y="257922"/>
                  <a:pt x="102043" y="256306"/>
                  <a:pt x="102603" y="254701"/>
                </a:cubicBezTo>
                <a:cubicBezTo>
                  <a:pt x="103137" y="253097"/>
                  <a:pt x="103709" y="251492"/>
                  <a:pt x="104292" y="249912"/>
                </a:cubicBezTo>
                <a:cubicBezTo>
                  <a:pt x="105374" y="246934"/>
                  <a:pt x="106529" y="243992"/>
                  <a:pt x="107720" y="241063"/>
                </a:cubicBezTo>
                <a:cubicBezTo>
                  <a:pt x="107805" y="240832"/>
                  <a:pt x="107914" y="240601"/>
                  <a:pt x="107999" y="240370"/>
                </a:cubicBezTo>
                <a:cubicBezTo>
                  <a:pt x="108619" y="238839"/>
                  <a:pt x="109276" y="237331"/>
                  <a:pt x="109944" y="235824"/>
                </a:cubicBezTo>
                <a:cubicBezTo>
                  <a:pt x="111281" y="232749"/>
                  <a:pt x="112704" y="229698"/>
                  <a:pt x="114174" y="226683"/>
                </a:cubicBezTo>
                <a:cubicBezTo>
                  <a:pt x="114661" y="225674"/>
                  <a:pt x="115159" y="224678"/>
                  <a:pt x="115682" y="223681"/>
                </a:cubicBezTo>
                <a:cubicBezTo>
                  <a:pt x="116168" y="222672"/>
                  <a:pt x="116690" y="221675"/>
                  <a:pt x="117213" y="220691"/>
                </a:cubicBezTo>
                <a:cubicBezTo>
                  <a:pt x="117724" y="219694"/>
                  <a:pt x="118246" y="218710"/>
                  <a:pt x="118781" y="217737"/>
                </a:cubicBezTo>
                <a:cubicBezTo>
                  <a:pt x="119267" y="216813"/>
                  <a:pt x="119766" y="215914"/>
                  <a:pt x="120276" y="215002"/>
                </a:cubicBezTo>
                <a:cubicBezTo>
                  <a:pt x="120848" y="213969"/>
                  <a:pt x="121443" y="212936"/>
                  <a:pt x="122039" y="211903"/>
                </a:cubicBezTo>
                <a:cubicBezTo>
                  <a:pt x="122671" y="210796"/>
                  <a:pt x="123315" y="209690"/>
                  <a:pt x="123984" y="208596"/>
                </a:cubicBezTo>
                <a:cubicBezTo>
                  <a:pt x="124470" y="207794"/>
                  <a:pt x="124956" y="206980"/>
                  <a:pt x="125454" y="206165"/>
                </a:cubicBezTo>
                <a:lnTo>
                  <a:pt x="127217" y="203333"/>
                </a:lnTo>
                <a:cubicBezTo>
                  <a:pt x="128591" y="201133"/>
                  <a:pt x="130025" y="198982"/>
                  <a:pt x="131471" y="196842"/>
                </a:cubicBezTo>
                <a:cubicBezTo>
                  <a:pt x="132152" y="195845"/>
                  <a:pt x="132833" y="194849"/>
                  <a:pt x="133526" y="193864"/>
                </a:cubicBezTo>
                <a:cubicBezTo>
                  <a:pt x="134255" y="192831"/>
                  <a:pt x="134984" y="191798"/>
                  <a:pt x="135726" y="190777"/>
                </a:cubicBezTo>
                <a:cubicBezTo>
                  <a:pt x="136467" y="189756"/>
                  <a:pt x="137209" y="188735"/>
                  <a:pt x="137974" y="187726"/>
                </a:cubicBezTo>
                <a:cubicBezTo>
                  <a:pt x="138521" y="186984"/>
                  <a:pt x="139068" y="186255"/>
                  <a:pt x="139640" y="185526"/>
                </a:cubicBezTo>
                <a:cubicBezTo>
                  <a:pt x="140612" y="184249"/>
                  <a:pt x="141609" y="182973"/>
                  <a:pt x="142605" y="181721"/>
                </a:cubicBezTo>
                <a:cubicBezTo>
                  <a:pt x="143396" y="180724"/>
                  <a:pt x="144186" y="179740"/>
                  <a:pt x="144988" y="178767"/>
                </a:cubicBezTo>
                <a:cubicBezTo>
                  <a:pt x="147382" y="175850"/>
                  <a:pt x="149850" y="172969"/>
                  <a:pt x="152378" y="170174"/>
                </a:cubicBezTo>
                <a:cubicBezTo>
                  <a:pt x="153217" y="169225"/>
                  <a:pt x="154080" y="168302"/>
                  <a:pt x="154943" y="167378"/>
                </a:cubicBezTo>
                <a:cubicBezTo>
                  <a:pt x="155782" y="166442"/>
                  <a:pt x="156657" y="165542"/>
                  <a:pt x="157532" y="164631"/>
                </a:cubicBezTo>
                <a:cubicBezTo>
                  <a:pt x="158395" y="163707"/>
                  <a:pt x="159270" y="162820"/>
                  <a:pt x="160158" y="161920"/>
                </a:cubicBezTo>
                <a:cubicBezTo>
                  <a:pt x="161726" y="160340"/>
                  <a:pt x="163306" y="158784"/>
                  <a:pt x="164923" y="157240"/>
                </a:cubicBezTo>
                <a:cubicBezTo>
                  <a:pt x="165421" y="156766"/>
                  <a:pt x="165919" y="156292"/>
                  <a:pt x="166418" y="155830"/>
                </a:cubicBezTo>
                <a:cubicBezTo>
                  <a:pt x="167062" y="155223"/>
                  <a:pt x="167694" y="154615"/>
                  <a:pt x="168338" y="154044"/>
                </a:cubicBezTo>
                <a:cubicBezTo>
                  <a:pt x="169165" y="153266"/>
                  <a:pt x="170016" y="152500"/>
                  <a:pt x="170866" y="151746"/>
                </a:cubicBezTo>
                <a:cubicBezTo>
                  <a:pt x="172836" y="149972"/>
                  <a:pt x="174829" y="148245"/>
                  <a:pt x="176847" y="146556"/>
                </a:cubicBezTo>
                <a:cubicBezTo>
                  <a:pt x="177807" y="145742"/>
                  <a:pt x="178780" y="144939"/>
                  <a:pt x="179752" y="144149"/>
                </a:cubicBezTo>
                <a:cubicBezTo>
                  <a:pt x="180882" y="143213"/>
                  <a:pt x="182025" y="142302"/>
                  <a:pt x="183180" y="141390"/>
                </a:cubicBezTo>
                <a:cubicBezTo>
                  <a:pt x="183873" y="140855"/>
                  <a:pt x="184553" y="140320"/>
                  <a:pt x="185258" y="139785"/>
                </a:cubicBezTo>
                <a:cubicBezTo>
                  <a:pt x="190461" y="135786"/>
                  <a:pt x="195845" y="131994"/>
                  <a:pt x="201364" y="128408"/>
                </a:cubicBezTo>
                <a:cubicBezTo>
                  <a:pt x="202361" y="127764"/>
                  <a:pt x="203370" y="127132"/>
                  <a:pt x="204378" y="126512"/>
                </a:cubicBezTo>
                <a:cubicBezTo>
                  <a:pt x="205193" y="125989"/>
                  <a:pt x="206020" y="125479"/>
                  <a:pt x="206858" y="124980"/>
                </a:cubicBezTo>
                <a:cubicBezTo>
                  <a:pt x="207454" y="124616"/>
                  <a:pt x="208062" y="124239"/>
                  <a:pt x="208657" y="123886"/>
                </a:cubicBezTo>
                <a:cubicBezTo>
                  <a:pt x="210480" y="122805"/>
                  <a:pt x="212316" y="121735"/>
                  <a:pt x="214188" y="120677"/>
                </a:cubicBezTo>
                <a:cubicBezTo>
                  <a:pt x="215294" y="120057"/>
                  <a:pt x="216412" y="119438"/>
                  <a:pt x="217518" y="118842"/>
                </a:cubicBezTo>
                <a:cubicBezTo>
                  <a:pt x="218637" y="118234"/>
                  <a:pt x="219767" y="117626"/>
                  <a:pt x="220885" y="117043"/>
                </a:cubicBezTo>
                <a:cubicBezTo>
                  <a:pt x="222903" y="115985"/>
                  <a:pt x="224933" y="114964"/>
                  <a:pt x="226987" y="113968"/>
                </a:cubicBezTo>
                <a:cubicBezTo>
                  <a:pt x="228495" y="113226"/>
                  <a:pt x="230002" y="112509"/>
                  <a:pt x="231533" y="111816"/>
                </a:cubicBezTo>
                <a:cubicBezTo>
                  <a:pt x="232567" y="111330"/>
                  <a:pt x="233600" y="110856"/>
                  <a:pt x="234645" y="110394"/>
                </a:cubicBezTo>
                <a:cubicBezTo>
                  <a:pt x="235812" y="109871"/>
                  <a:pt x="236979" y="109361"/>
                  <a:pt x="238158" y="108862"/>
                </a:cubicBezTo>
                <a:cubicBezTo>
                  <a:pt x="239544" y="108267"/>
                  <a:pt x="240954" y="107683"/>
                  <a:pt x="242376" y="107112"/>
                </a:cubicBezTo>
                <a:cubicBezTo>
                  <a:pt x="243348" y="106711"/>
                  <a:pt x="244321" y="106334"/>
                  <a:pt x="245281" y="105957"/>
                </a:cubicBezTo>
                <a:cubicBezTo>
                  <a:pt x="247663" y="105021"/>
                  <a:pt x="250070" y="104134"/>
                  <a:pt x="252489" y="103271"/>
                </a:cubicBezTo>
                <a:cubicBezTo>
                  <a:pt x="253364" y="102955"/>
                  <a:pt x="254264" y="102651"/>
                  <a:pt x="255139" y="102347"/>
                </a:cubicBezTo>
                <a:cubicBezTo>
                  <a:pt x="255990" y="102056"/>
                  <a:pt x="256853" y="101764"/>
                  <a:pt x="257716" y="101496"/>
                </a:cubicBezTo>
                <a:cubicBezTo>
                  <a:pt x="258433" y="101253"/>
                  <a:pt x="259150" y="101022"/>
                  <a:pt x="259855" y="100791"/>
                </a:cubicBezTo>
                <a:cubicBezTo>
                  <a:pt x="260791" y="100500"/>
                  <a:pt x="261715" y="100208"/>
                  <a:pt x="262651" y="99928"/>
                </a:cubicBezTo>
                <a:cubicBezTo>
                  <a:pt x="264377" y="99406"/>
                  <a:pt x="266115" y="98895"/>
                  <a:pt x="267841" y="98409"/>
                </a:cubicBezTo>
                <a:cubicBezTo>
                  <a:pt x="268862" y="98117"/>
                  <a:pt x="269883" y="97838"/>
                  <a:pt x="270916" y="97582"/>
                </a:cubicBezTo>
                <a:cubicBezTo>
                  <a:pt x="270965" y="97558"/>
                  <a:pt x="271014" y="97546"/>
                  <a:pt x="271087" y="97534"/>
                </a:cubicBezTo>
                <a:cubicBezTo>
                  <a:pt x="272302" y="97206"/>
                  <a:pt x="273542" y="96902"/>
                  <a:pt x="274757" y="96586"/>
                </a:cubicBezTo>
                <a:cubicBezTo>
                  <a:pt x="275620" y="96367"/>
                  <a:pt x="276496" y="96148"/>
                  <a:pt x="277371" y="95954"/>
                </a:cubicBezTo>
                <a:cubicBezTo>
                  <a:pt x="277675" y="95881"/>
                  <a:pt x="277991" y="95796"/>
                  <a:pt x="278319" y="95735"/>
                </a:cubicBezTo>
                <a:cubicBezTo>
                  <a:pt x="279255" y="95516"/>
                  <a:pt x="280179" y="95297"/>
                  <a:pt x="281115" y="95103"/>
                </a:cubicBezTo>
                <a:cubicBezTo>
                  <a:pt x="281188" y="95078"/>
                  <a:pt x="281273" y="95066"/>
                  <a:pt x="281346" y="95054"/>
                </a:cubicBezTo>
                <a:cubicBezTo>
                  <a:pt x="282269" y="94847"/>
                  <a:pt x="283181" y="94653"/>
                  <a:pt x="284105" y="94471"/>
                </a:cubicBezTo>
                <a:cubicBezTo>
                  <a:pt x="284226" y="94446"/>
                  <a:pt x="284360" y="94422"/>
                  <a:pt x="284494" y="94398"/>
                </a:cubicBezTo>
                <a:cubicBezTo>
                  <a:pt x="285430" y="94203"/>
                  <a:pt x="286354" y="94009"/>
                  <a:pt x="287302" y="93839"/>
                </a:cubicBezTo>
                <a:cubicBezTo>
                  <a:pt x="288238" y="93656"/>
                  <a:pt x="289161" y="93486"/>
                  <a:pt x="290097" y="93316"/>
                </a:cubicBezTo>
                <a:cubicBezTo>
                  <a:pt x="291179" y="93109"/>
                  <a:pt x="292285" y="92927"/>
                  <a:pt x="293367" y="92745"/>
                </a:cubicBezTo>
                <a:cubicBezTo>
                  <a:pt x="293756" y="92684"/>
                  <a:pt x="294121" y="92611"/>
                  <a:pt x="294485" y="92562"/>
                </a:cubicBezTo>
                <a:cubicBezTo>
                  <a:pt x="295567" y="92380"/>
                  <a:pt x="296673" y="92222"/>
                  <a:pt x="297755" y="92064"/>
                </a:cubicBezTo>
                <a:cubicBezTo>
                  <a:pt x="297852" y="92040"/>
                  <a:pt x="297974" y="92027"/>
                  <a:pt x="298071" y="92015"/>
                </a:cubicBezTo>
                <a:cubicBezTo>
                  <a:pt x="299311" y="91821"/>
                  <a:pt x="300563" y="91663"/>
                  <a:pt x="301815" y="91493"/>
                </a:cubicBezTo>
                <a:cubicBezTo>
                  <a:pt x="303091" y="91322"/>
                  <a:pt x="304355" y="91164"/>
                  <a:pt x="305644" y="91019"/>
                </a:cubicBezTo>
                <a:cubicBezTo>
                  <a:pt x="305680" y="91006"/>
                  <a:pt x="305717" y="91006"/>
                  <a:pt x="305778" y="91006"/>
                </a:cubicBezTo>
                <a:cubicBezTo>
                  <a:pt x="307090" y="90848"/>
                  <a:pt x="308403" y="90715"/>
                  <a:pt x="309740" y="90581"/>
                </a:cubicBezTo>
                <a:cubicBezTo>
                  <a:pt x="310688" y="90484"/>
                  <a:pt x="311636" y="90386"/>
                  <a:pt x="312597" y="90314"/>
                </a:cubicBezTo>
                <a:cubicBezTo>
                  <a:pt x="313387" y="90253"/>
                  <a:pt x="314177" y="90168"/>
                  <a:pt x="314967" y="90119"/>
                </a:cubicBezTo>
                <a:cubicBezTo>
                  <a:pt x="318747" y="89827"/>
                  <a:pt x="322552" y="89621"/>
                  <a:pt x="326381" y="89511"/>
                </a:cubicBezTo>
                <a:cubicBezTo>
                  <a:pt x="327438" y="89475"/>
                  <a:pt x="328496" y="89451"/>
                  <a:pt x="329578" y="89438"/>
                </a:cubicBezTo>
                <a:cubicBezTo>
                  <a:pt x="331024" y="89414"/>
                  <a:pt x="332458" y="89402"/>
                  <a:pt x="333917" y="89402"/>
                </a:cubicBezTo>
                <a:cubicBezTo>
                  <a:pt x="337795" y="89402"/>
                  <a:pt x="341660" y="89499"/>
                  <a:pt x="345501" y="89681"/>
                </a:cubicBezTo>
                <a:cubicBezTo>
                  <a:pt x="372850" y="90958"/>
                  <a:pt x="399021" y="96744"/>
                  <a:pt x="423295" y="106286"/>
                </a:cubicBezTo>
                <a:cubicBezTo>
                  <a:pt x="424279" y="106662"/>
                  <a:pt x="425264" y="107063"/>
                  <a:pt x="426236" y="107477"/>
                </a:cubicBezTo>
                <a:cubicBezTo>
                  <a:pt x="427038" y="107793"/>
                  <a:pt x="427829" y="108133"/>
                  <a:pt x="428607" y="108461"/>
                </a:cubicBezTo>
                <a:cubicBezTo>
                  <a:pt x="429737" y="108935"/>
                  <a:pt x="430867" y="109422"/>
                  <a:pt x="431986" y="109908"/>
                </a:cubicBezTo>
                <a:cubicBezTo>
                  <a:pt x="433140" y="110418"/>
                  <a:pt x="434283" y="110929"/>
                  <a:pt x="435413" y="111452"/>
                </a:cubicBezTo>
                <a:cubicBezTo>
                  <a:pt x="438063" y="112667"/>
                  <a:pt x="440701" y="113919"/>
                  <a:pt x="443302" y="115232"/>
                </a:cubicBezTo>
                <a:cubicBezTo>
                  <a:pt x="444226" y="115694"/>
                  <a:pt x="445150" y="116168"/>
                  <a:pt x="446074" y="116654"/>
                </a:cubicBezTo>
                <a:cubicBezTo>
                  <a:pt x="446997" y="117128"/>
                  <a:pt x="447921" y="117614"/>
                  <a:pt x="448833" y="118100"/>
                </a:cubicBezTo>
                <a:cubicBezTo>
                  <a:pt x="449915" y="118684"/>
                  <a:pt x="451009" y="119280"/>
                  <a:pt x="452078" y="119863"/>
                </a:cubicBezTo>
                <a:cubicBezTo>
                  <a:pt x="453245" y="120519"/>
                  <a:pt x="454400" y="121164"/>
                  <a:pt x="455555" y="121832"/>
                </a:cubicBezTo>
                <a:cubicBezTo>
                  <a:pt x="466397" y="128056"/>
                  <a:pt x="476717" y="135094"/>
                  <a:pt x="486417" y="142873"/>
                </a:cubicBezTo>
                <a:cubicBezTo>
                  <a:pt x="487122" y="143432"/>
                  <a:pt x="487827" y="143991"/>
                  <a:pt x="488508" y="144575"/>
                </a:cubicBezTo>
                <a:cubicBezTo>
                  <a:pt x="489796" y="145608"/>
                  <a:pt x="491060" y="146665"/>
                  <a:pt x="492312" y="147735"/>
                </a:cubicBezTo>
                <a:cubicBezTo>
                  <a:pt x="493090" y="148404"/>
                  <a:pt x="493868" y="149072"/>
                  <a:pt x="494646" y="149753"/>
                </a:cubicBezTo>
                <a:cubicBezTo>
                  <a:pt x="495424" y="150433"/>
                  <a:pt x="496190" y="151102"/>
                  <a:pt x="496956" y="151795"/>
                </a:cubicBezTo>
                <a:cubicBezTo>
                  <a:pt x="498511" y="153168"/>
                  <a:pt x="500031" y="154578"/>
                  <a:pt x="501538" y="156013"/>
                </a:cubicBezTo>
                <a:cubicBezTo>
                  <a:pt x="502280" y="156706"/>
                  <a:pt x="503021" y="157398"/>
                  <a:pt x="503750" y="158116"/>
                </a:cubicBezTo>
                <a:cubicBezTo>
                  <a:pt x="504492" y="158833"/>
                  <a:pt x="505233" y="159550"/>
                  <a:pt x="505963" y="160267"/>
                </a:cubicBezTo>
                <a:cubicBezTo>
                  <a:pt x="506668" y="160960"/>
                  <a:pt x="507348" y="161653"/>
                  <a:pt x="508041" y="162358"/>
                </a:cubicBezTo>
                <a:cubicBezTo>
                  <a:pt x="508734" y="163051"/>
                  <a:pt x="509415" y="163768"/>
                  <a:pt x="510095" y="164461"/>
                </a:cubicBezTo>
                <a:cubicBezTo>
                  <a:pt x="511955" y="166393"/>
                  <a:pt x="513778" y="168350"/>
                  <a:pt x="515589" y="170344"/>
                </a:cubicBezTo>
                <a:cubicBezTo>
                  <a:pt x="516416" y="171280"/>
                  <a:pt x="517243" y="172203"/>
                  <a:pt x="518081" y="173152"/>
                </a:cubicBezTo>
                <a:cubicBezTo>
                  <a:pt x="518288" y="173395"/>
                  <a:pt x="518507" y="173638"/>
                  <a:pt x="518701" y="173881"/>
                </a:cubicBezTo>
                <a:cubicBezTo>
                  <a:pt x="519321" y="174610"/>
                  <a:pt x="519953" y="175340"/>
                  <a:pt x="520573" y="176081"/>
                </a:cubicBezTo>
                <a:cubicBezTo>
                  <a:pt x="521023" y="176604"/>
                  <a:pt x="521448" y="177126"/>
                  <a:pt x="521886" y="177649"/>
                </a:cubicBezTo>
                <a:cubicBezTo>
                  <a:pt x="527550" y="184456"/>
                  <a:pt x="532850" y="191579"/>
                  <a:pt x="537761" y="198969"/>
                </a:cubicBezTo>
                <a:cubicBezTo>
                  <a:pt x="538466" y="200027"/>
                  <a:pt x="539146" y="201097"/>
                  <a:pt x="539839" y="202178"/>
                </a:cubicBezTo>
                <a:cubicBezTo>
                  <a:pt x="541334" y="204524"/>
                  <a:pt x="542805" y="206882"/>
                  <a:pt x="544215" y="209277"/>
                </a:cubicBezTo>
                <a:cubicBezTo>
                  <a:pt x="544677" y="210043"/>
                  <a:pt x="545127" y="210809"/>
                  <a:pt x="545552" y="211574"/>
                </a:cubicBezTo>
                <a:cubicBezTo>
                  <a:pt x="546585" y="213349"/>
                  <a:pt x="547594" y="215136"/>
                  <a:pt x="548579" y="216935"/>
                </a:cubicBezTo>
                <a:cubicBezTo>
                  <a:pt x="549016" y="217737"/>
                  <a:pt x="549442" y="218551"/>
                  <a:pt x="549880" y="219366"/>
                </a:cubicBezTo>
                <a:cubicBezTo>
                  <a:pt x="550706" y="220934"/>
                  <a:pt x="551521" y="222502"/>
                  <a:pt x="552335" y="224106"/>
                </a:cubicBezTo>
                <a:cubicBezTo>
                  <a:pt x="553003" y="225444"/>
                  <a:pt x="553660" y="226793"/>
                  <a:pt x="554316" y="228142"/>
                </a:cubicBezTo>
                <a:cubicBezTo>
                  <a:pt x="554620" y="228762"/>
                  <a:pt x="554924" y="229406"/>
                  <a:pt x="555228" y="230026"/>
                </a:cubicBezTo>
                <a:cubicBezTo>
                  <a:pt x="555653" y="230938"/>
                  <a:pt x="556067" y="231825"/>
                  <a:pt x="556480" y="232737"/>
                </a:cubicBezTo>
                <a:cubicBezTo>
                  <a:pt x="556893" y="233648"/>
                  <a:pt x="557294" y="234536"/>
                  <a:pt x="557695" y="235447"/>
                </a:cubicBezTo>
                <a:cubicBezTo>
                  <a:pt x="557707" y="235472"/>
                  <a:pt x="557720" y="235508"/>
                  <a:pt x="557732" y="235532"/>
                </a:cubicBezTo>
                <a:cubicBezTo>
                  <a:pt x="558522" y="237331"/>
                  <a:pt x="559288" y="239142"/>
                  <a:pt x="560041" y="240966"/>
                </a:cubicBezTo>
                <a:cubicBezTo>
                  <a:pt x="560430" y="241902"/>
                  <a:pt x="560807" y="242813"/>
                  <a:pt x="561160" y="243749"/>
                </a:cubicBezTo>
                <a:cubicBezTo>
                  <a:pt x="561524" y="244685"/>
                  <a:pt x="561901" y="245609"/>
                  <a:pt x="562254" y="246545"/>
                </a:cubicBezTo>
                <a:cubicBezTo>
                  <a:pt x="562606" y="247481"/>
                  <a:pt x="562959" y="248417"/>
                  <a:pt x="563299" y="249353"/>
                </a:cubicBezTo>
                <a:cubicBezTo>
                  <a:pt x="563651" y="250301"/>
                  <a:pt x="563992" y="251237"/>
                  <a:pt x="564320" y="252185"/>
                </a:cubicBezTo>
                <a:cubicBezTo>
                  <a:pt x="564818" y="253583"/>
                  <a:pt x="565305" y="254993"/>
                  <a:pt x="565779" y="256415"/>
                </a:cubicBezTo>
                <a:cubicBezTo>
                  <a:pt x="566107" y="257388"/>
                  <a:pt x="566435" y="258360"/>
                  <a:pt x="566739" y="259332"/>
                </a:cubicBezTo>
                <a:cubicBezTo>
                  <a:pt x="567031" y="260256"/>
                  <a:pt x="567310" y="261156"/>
                  <a:pt x="567590" y="262079"/>
                </a:cubicBezTo>
                <a:cubicBezTo>
                  <a:pt x="568015" y="263392"/>
                  <a:pt x="568392" y="264693"/>
                  <a:pt x="568769" y="266018"/>
                </a:cubicBezTo>
                <a:cubicBezTo>
                  <a:pt x="568866" y="266346"/>
                  <a:pt x="568963" y="266686"/>
                  <a:pt x="569060" y="267027"/>
                </a:cubicBezTo>
                <a:cubicBezTo>
                  <a:pt x="569291" y="267841"/>
                  <a:pt x="569522" y="268655"/>
                  <a:pt x="569741" y="269494"/>
                </a:cubicBezTo>
                <a:cubicBezTo>
                  <a:pt x="570288" y="271451"/>
                  <a:pt x="570799" y="273396"/>
                  <a:pt x="571273" y="275377"/>
                </a:cubicBezTo>
                <a:cubicBezTo>
                  <a:pt x="571759" y="277347"/>
                  <a:pt x="572221" y="279316"/>
                  <a:pt x="572646" y="281309"/>
                </a:cubicBezTo>
                <a:cubicBezTo>
                  <a:pt x="572865" y="282306"/>
                  <a:pt x="573084" y="283303"/>
                  <a:pt x="573291" y="284311"/>
                </a:cubicBezTo>
                <a:cubicBezTo>
                  <a:pt x="573497" y="285308"/>
                  <a:pt x="573692" y="286317"/>
                  <a:pt x="573886" y="287314"/>
                </a:cubicBezTo>
                <a:cubicBezTo>
                  <a:pt x="574081" y="288323"/>
                  <a:pt x="574251" y="289332"/>
                  <a:pt x="574445" y="290340"/>
                </a:cubicBezTo>
                <a:cubicBezTo>
                  <a:pt x="574615" y="291313"/>
                  <a:pt x="574774" y="292285"/>
                  <a:pt x="574956" y="293246"/>
                </a:cubicBezTo>
                <a:cubicBezTo>
                  <a:pt x="574956" y="293331"/>
                  <a:pt x="574968" y="293416"/>
                  <a:pt x="574992" y="293501"/>
                </a:cubicBezTo>
                <a:cubicBezTo>
                  <a:pt x="575150" y="294473"/>
                  <a:pt x="575296" y="295446"/>
                  <a:pt x="575454" y="296406"/>
                </a:cubicBezTo>
                <a:cubicBezTo>
                  <a:pt x="575612" y="297415"/>
                  <a:pt x="575758" y="298436"/>
                  <a:pt x="575904" y="299457"/>
                </a:cubicBezTo>
                <a:cubicBezTo>
                  <a:pt x="576050" y="300478"/>
                  <a:pt x="576184" y="301499"/>
                  <a:pt x="576317" y="302532"/>
                </a:cubicBezTo>
                <a:cubicBezTo>
                  <a:pt x="576585" y="304574"/>
                  <a:pt x="576816" y="306628"/>
                  <a:pt x="577034" y="308695"/>
                </a:cubicBezTo>
                <a:cubicBezTo>
                  <a:pt x="577132" y="309728"/>
                  <a:pt x="577241" y="310761"/>
                  <a:pt x="577326" y="311794"/>
                </a:cubicBezTo>
                <a:cubicBezTo>
                  <a:pt x="577508" y="313727"/>
                  <a:pt x="577654" y="315660"/>
                  <a:pt x="577788" y="317605"/>
                </a:cubicBezTo>
                <a:cubicBezTo>
                  <a:pt x="577788" y="317799"/>
                  <a:pt x="577800" y="317969"/>
                  <a:pt x="577812" y="318152"/>
                </a:cubicBezTo>
                <a:cubicBezTo>
                  <a:pt x="577873" y="319027"/>
                  <a:pt x="577922" y="319902"/>
                  <a:pt x="577970" y="320777"/>
                </a:cubicBezTo>
                <a:cubicBezTo>
                  <a:pt x="577995" y="321251"/>
                  <a:pt x="578019" y="321737"/>
                  <a:pt x="578043" y="322212"/>
                </a:cubicBezTo>
                <a:cubicBezTo>
                  <a:pt x="578080" y="322917"/>
                  <a:pt x="578116" y="323622"/>
                  <a:pt x="578128" y="324327"/>
                </a:cubicBezTo>
                <a:cubicBezTo>
                  <a:pt x="578165" y="325518"/>
                  <a:pt x="578201" y="326709"/>
                  <a:pt x="578238" y="327912"/>
                </a:cubicBezTo>
                <a:cubicBezTo>
                  <a:pt x="578250" y="328824"/>
                  <a:pt x="578274" y="329736"/>
                  <a:pt x="578274" y="330647"/>
                </a:cubicBezTo>
                <a:cubicBezTo>
                  <a:pt x="578286" y="331705"/>
                  <a:pt x="578299" y="332762"/>
                  <a:pt x="578299" y="333820"/>
                </a:cubicBezTo>
                <a:cubicBezTo>
                  <a:pt x="578299" y="334877"/>
                  <a:pt x="578286" y="335935"/>
                  <a:pt x="578274" y="336992"/>
                </a:cubicBezTo>
                <a:cubicBezTo>
                  <a:pt x="578274" y="337904"/>
                  <a:pt x="578250" y="338816"/>
                  <a:pt x="578238" y="339727"/>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355550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0DB31-A8E0-20EB-95A2-CB09251458B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5243F31-E2D2-43A9-D032-A71C0FA7AF8E}"/>
              </a:ext>
            </a:extLst>
          </p:cNvPr>
          <p:cNvSpPr>
            <a:spLocks noGrp="1"/>
          </p:cNvSpPr>
          <p:nvPr>
            <p:ph type="body" sz="quarter" idx="13"/>
          </p:nvPr>
        </p:nvSpPr>
        <p:spPr>
          <a:xfrm>
            <a:off x="457200" y="682940"/>
            <a:ext cx="11283696" cy="757255"/>
          </a:xfrm>
        </p:spPr>
        <p:txBody>
          <a:bodyPr/>
          <a:lstStyle/>
          <a:p>
            <a:r>
              <a:rPr lang="en-GB" b="1" dirty="0">
                <a:solidFill>
                  <a:srgbClr val="FF0000"/>
                </a:solidFill>
              </a:rPr>
              <a:t>Step 2 – Identifying the performance obligations</a:t>
            </a:r>
          </a:p>
        </p:txBody>
      </p:sp>
      <p:sp>
        <p:nvSpPr>
          <p:cNvPr id="107" name="Rectangle 106">
            <a:extLst>
              <a:ext uri="{FF2B5EF4-FFF2-40B4-BE49-F238E27FC236}">
                <a16:creationId xmlns:a16="http://schemas.microsoft.com/office/drawing/2014/main" id="{AAC9C1FE-CDB9-0C78-734E-A2AEDADB9721}"/>
              </a:ext>
            </a:extLst>
          </p:cNvPr>
          <p:cNvSpPr/>
          <p:nvPr/>
        </p:nvSpPr>
        <p:spPr bwMode="gray">
          <a:xfrm>
            <a:off x="457200" y="2655277"/>
            <a:ext cx="4783015" cy="25380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8406B0C4-3649-05A4-8BC7-F3DD61BC6D6A}"/>
              </a:ext>
            </a:extLst>
          </p:cNvPr>
          <p:cNvSpPr/>
          <p:nvPr/>
        </p:nvSpPr>
        <p:spPr bwMode="gray">
          <a:xfrm>
            <a:off x="251388" y="1027928"/>
            <a:ext cx="11086631" cy="312094"/>
          </a:xfrm>
          <a:prstGeom prst="rect">
            <a:avLst/>
          </a:prstGeom>
          <a:noFill/>
          <a:ln w="19050" algn="ctr">
            <a:solidFill>
              <a:schemeClr val="bg1"/>
            </a:solidFill>
            <a:miter lim="800000"/>
            <a:headEnd/>
            <a:tailEnd/>
          </a:ln>
        </p:spPr>
        <p:txBody>
          <a:bodyPr wrap="square" lIns="457200" tIns="88900" rIns="88900" bIns="88900" rtlCol="0" anchor="ct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2D0673B1-A94C-B189-2D73-D329B8680FE5}"/>
              </a:ext>
            </a:extLst>
          </p:cNvPr>
          <p:cNvSpPr txBox="1"/>
          <p:nvPr/>
        </p:nvSpPr>
        <p:spPr>
          <a:xfrm>
            <a:off x="460723" y="1022046"/>
            <a:ext cx="1127407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An entity is a principal if it </a:t>
            </a:r>
            <a:r>
              <a:rPr kumimoji="0" lang="en-GB" sz="1200" b="1" i="0" u="none" strike="noStrike" kern="1200" cap="none" spc="0" normalizeH="0" baseline="0" noProof="0" dirty="0">
                <a:ln>
                  <a:noFill/>
                </a:ln>
                <a:solidFill>
                  <a:prstClr val="black"/>
                </a:solidFill>
                <a:effectLst/>
                <a:uLnTx/>
                <a:uFillTx/>
                <a:latin typeface="Aptos" panose="02110004020202020204"/>
                <a:ea typeface="+mn-ea"/>
                <a:cs typeface="+mn-cs"/>
              </a:rPr>
              <a:t>controls the specified good or service before</a:t>
            </a: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 that good or service is transferred to a customer. </a:t>
            </a:r>
          </a:p>
        </p:txBody>
      </p:sp>
      <p:graphicFrame>
        <p:nvGraphicFramePr>
          <p:cNvPr id="6" name="Table 5">
            <a:extLst>
              <a:ext uri="{FF2B5EF4-FFF2-40B4-BE49-F238E27FC236}">
                <a16:creationId xmlns:a16="http://schemas.microsoft.com/office/drawing/2014/main" id="{FA2FDE1E-C134-9258-3057-B5D7DB090CE8}"/>
              </a:ext>
            </a:extLst>
          </p:cNvPr>
          <p:cNvGraphicFramePr>
            <a:graphicFrameLocks noGrp="1"/>
          </p:cNvGraphicFramePr>
          <p:nvPr/>
        </p:nvGraphicFramePr>
        <p:xfrm>
          <a:off x="460724" y="1298917"/>
          <a:ext cx="10051992" cy="3200400"/>
        </p:xfrm>
        <a:graphic>
          <a:graphicData uri="http://schemas.openxmlformats.org/drawingml/2006/table">
            <a:tbl>
              <a:tblPr firstRow="1" bandRow="1">
                <a:tableStyleId>{93296810-A885-4BE3-A3E7-6D5BEEA58F35}</a:tableStyleId>
              </a:tblPr>
              <a:tblGrid>
                <a:gridCol w="1676643">
                  <a:extLst>
                    <a:ext uri="{9D8B030D-6E8A-4147-A177-3AD203B41FA5}">
                      <a16:colId xmlns:a16="http://schemas.microsoft.com/office/drawing/2014/main" val="379230182"/>
                    </a:ext>
                  </a:extLst>
                </a:gridCol>
                <a:gridCol w="2352878">
                  <a:extLst>
                    <a:ext uri="{9D8B030D-6E8A-4147-A177-3AD203B41FA5}">
                      <a16:colId xmlns:a16="http://schemas.microsoft.com/office/drawing/2014/main" val="3152737432"/>
                    </a:ext>
                  </a:extLst>
                </a:gridCol>
                <a:gridCol w="2427572">
                  <a:extLst>
                    <a:ext uri="{9D8B030D-6E8A-4147-A177-3AD203B41FA5}">
                      <a16:colId xmlns:a16="http://schemas.microsoft.com/office/drawing/2014/main" val="960634366"/>
                    </a:ext>
                  </a:extLst>
                </a:gridCol>
                <a:gridCol w="2464919">
                  <a:extLst>
                    <a:ext uri="{9D8B030D-6E8A-4147-A177-3AD203B41FA5}">
                      <a16:colId xmlns:a16="http://schemas.microsoft.com/office/drawing/2014/main" val="599992902"/>
                    </a:ext>
                  </a:extLst>
                </a:gridCol>
                <a:gridCol w="1129980">
                  <a:extLst>
                    <a:ext uri="{9D8B030D-6E8A-4147-A177-3AD203B41FA5}">
                      <a16:colId xmlns:a16="http://schemas.microsoft.com/office/drawing/2014/main" val="3828343206"/>
                    </a:ext>
                  </a:extLst>
                </a:gridCol>
              </a:tblGrid>
              <a:tr h="933517">
                <a:tc>
                  <a:txBody>
                    <a:bodyPr/>
                    <a:lstStyle/>
                    <a:p>
                      <a:r>
                        <a:rPr lang="en-US" sz="1200" dirty="0"/>
                        <a:t>Promises</a:t>
                      </a:r>
                      <a:endParaRPr lang="en-GB" sz="1200" dirty="0"/>
                    </a:p>
                  </a:txBody>
                  <a:tcPr>
                    <a:solidFill>
                      <a:srgbClr val="FF0000"/>
                    </a:solidFill>
                  </a:tcPr>
                </a:tc>
                <a:tc>
                  <a:txBody>
                    <a:bodyPr/>
                    <a:lstStyle/>
                    <a:p>
                      <a:pPr marL="0" indent="0" algn="l" defTabSz="914400" rtl="0" eaLnBrk="1" latinLnBrk="0" hangingPunct="1">
                        <a:buFont typeface="Arial" panose="020B0604020202020204" pitchFamily="34" charset="0"/>
                        <a:buNone/>
                      </a:pPr>
                      <a:r>
                        <a:rPr lang="en-GB" sz="1200" b="1" kern="1200" dirty="0">
                          <a:solidFill>
                            <a:schemeClr val="lt1"/>
                          </a:solidFill>
                          <a:latin typeface="+mn-lt"/>
                          <a:ea typeface="+mn-ea"/>
                          <a:cs typeface="+mn-cs"/>
                        </a:rPr>
                        <a:t>Whether Vodafone is primarily responsible for fulfilling the promise to provide the specified good or service</a:t>
                      </a:r>
                    </a:p>
                  </a:txBody>
                  <a:tcPr>
                    <a:solidFill>
                      <a:srgbClr val="FF0000"/>
                    </a:solidFill>
                  </a:tcPr>
                </a:tc>
                <a:tc>
                  <a:txBody>
                    <a:bodyPr/>
                    <a:lstStyle/>
                    <a:p>
                      <a:pPr marL="0" indent="0" algn="l" defTabSz="914400" rtl="0" eaLnBrk="1" latinLnBrk="0" hangingPunct="1">
                        <a:buFont typeface="Arial" panose="020B0604020202020204" pitchFamily="34" charset="0"/>
                        <a:buNone/>
                      </a:pPr>
                      <a:r>
                        <a:rPr lang="en-GB" sz="1200" b="1" kern="1200" dirty="0">
                          <a:solidFill>
                            <a:schemeClr val="lt1"/>
                          </a:solidFill>
                          <a:latin typeface="+mn-lt"/>
                          <a:ea typeface="+mn-ea"/>
                          <a:cs typeface="+mn-cs"/>
                        </a:rPr>
                        <a:t>Whether the entity has inventory risk before the specified good or service has been transferred to a customer or after transfer of control to the customer</a:t>
                      </a:r>
                    </a:p>
                  </a:txBody>
                  <a:tcPr>
                    <a:solidFill>
                      <a:srgbClr val="FF0000"/>
                    </a:solidFill>
                  </a:tcPr>
                </a:tc>
                <a:tc>
                  <a:txBody>
                    <a:bodyPr/>
                    <a:lstStyle/>
                    <a:p>
                      <a:pPr marL="0" indent="0" algn="l" defTabSz="914400" rtl="0" eaLnBrk="1" latinLnBrk="0" hangingPunct="1">
                        <a:buFont typeface="Arial" panose="020B0604020202020204" pitchFamily="34" charset="0"/>
                        <a:buNone/>
                      </a:pPr>
                      <a:r>
                        <a:rPr lang="en-GB" sz="1200" b="1" kern="1200" dirty="0">
                          <a:solidFill>
                            <a:schemeClr val="lt1"/>
                          </a:solidFill>
                          <a:latin typeface="+mn-lt"/>
                          <a:ea typeface="+mn-ea"/>
                          <a:cs typeface="+mn-cs"/>
                        </a:rPr>
                        <a:t>Whether Vodafone has discretion in establishing the price for the specified good or service</a:t>
                      </a:r>
                    </a:p>
                  </a:txBody>
                  <a:tcPr>
                    <a:solidFill>
                      <a:srgbClr val="FF0000"/>
                    </a:solidFill>
                  </a:tcPr>
                </a:tc>
                <a:tc>
                  <a:txBody>
                    <a:bodyPr/>
                    <a:lstStyle/>
                    <a:p>
                      <a:pPr marL="0" indent="0" algn="l" defTabSz="914400" rtl="0" eaLnBrk="1" latinLnBrk="0" hangingPunct="1">
                        <a:buFont typeface="Arial" panose="020B0604020202020204" pitchFamily="34" charset="0"/>
                        <a:buNone/>
                      </a:pPr>
                      <a:r>
                        <a:rPr lang="en-US" sz="1200" b="1" kern="1200" dirty="0">
                          <a:solidFill>
                            <a:schemeClr val="lt1"/>
                          </a:solidFill>
                          <a:latin typeface="+mn-lt"/>
                          <a:ea typeface="+mn-ea"/>
                          <a:cs typeface="+mn-cs"/>
                        </a:rPr>
                        <a:t>Conclusion</a:t>
                      </a:r>
                      <a:endParaRPr lang="en-GB" sz="1200" b="1" kern="1200" dirty="0">
                        <a:solidFill>
                          <a:schemeClr val="lt1"/>
                        </a:solidFill>
                        <a:latin typeface="+mn-lt"/>
                        <a:ea typeface="+mn-ea"/>
                        <a:cs typeface="+mn-cs"/>
                      </a:endParaRPr>
                    </a:p>
                  </a:txBody>
                  <a:tcPr>
                    <a:solidFill>
                      <a:srgbClr val="FF0000"/>
                    </a:solidFill>
                  </a:tcPr>
                </a:tc>
                <a:extLst>
                  <a:ext uri="{0D108BD9-81ED-4DB2-BD59-A6C34878D82A}">
                    <a16:rowId xmlns:a16="http://schemas.microsoft.com/office/drawing/2014/main" val="4038389200"/>
                  </a:ext>
                </a:extLst>
              </a:tr>
              <a:tr h="10678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t>Managed Services (Repair, Help Desk, Admin), Upfront services (e.g. Activation/Shipping)</a:t>
                      </a:r>
                      <a:endParaRPr lang="en-GB" sz="1000" b="1" dirty="0"/>
                    </a:p>
                    <a:p>
                      <a:endParaRPr lang="en-GB" sz="1000" dirty="0"/>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2"/>
                          </a:solidFill>
                        </a:rPr>
                        <a:t>The external service provider performs the service. Vodafone is </a:t>
                      </a:r>
                      <a:r>
                        <a:rPr lang="en-US" sz="1000" dirty="0">
                          <a:solidFill>
                            <a:schemeClr val="tx2"/>
                          </a:solidFill>
                        </a:rPr>
                        <a:t>merely facilitating the provision of these services</a:t>
                      </a:r>
                      <a:r>
                        <a:rPr lang="en-US" sz="1000" b="0" dirty="0">
                          <a:solidFill>
                            <a:schemeClr val="tx2"/>
                          </a:solidFill>
                        </a:rPr>
                        <a:t> by the external provider to the customer.</a:t>
                      </a:r>
                      <a:endParaRPr lang="en-GB" sz="1000" b="0" dirty="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solidFill>
                            <a:schemeClr val="tx2"/>
                          </a:solidFill>
                        </a:rPr>
                        <a:t>(</a:t>
                      </a:r>
                      <a:r>
                        <a:rPr lang="en-US" sz="1000" b="0" dirty="0">
                          <a:solidFill>
                            <a:schemeClr val="tx2"/>
                          </a:solidFill>
                        </a:rPr>
                        <a:t>Assuming that the ultimate responsibility to rectify defects fall to the external provider) </a:t>
                      </a:r>
                      <a:endParaRPr lang="en-GB" sz="1000" b="0" kern="1200" dirty="0">
                        <a:solidFill>
                          <a:schemeClr val="dk1"/>
                        </a:solidFill>
                        <a:latin typeface="+mn-lt"/>
                        <a:ea typeface="+mn-ea"/>
                        <a:cs typeface="+mn-cs"/>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solidFill>
                            <a:schemeClr val="tx2"/>
                          </a:solidFill>
                        </a:rPr>
                        <a:t>No inventory risk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solidFill>
                            <a:schemeClr val="tx2"/>
                          </a:solidFill>
                        </a:rPr>
                        <a:t>(Assuming that there is no minimum purchase commitment to the external service provider for the services offe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2"/>
                          </a:solidFill>
                        </a:rPr>
                        <a:t>Vodafone sets the price as part of the bundle.</a:t>
                      </a:r>
                      <a:endParaRPr lang="en-GB" sz="1000" b="0" dirty="0">
                        <a:solidFill>
                          <a:schemeClr val="tx2"/>
                        </a:solidFill>
                      </a:endParaRPr>
                    </a:p>
                    <a:p>
                      <a:r>
                        <a:rPr lang="en-GB" sz="1000" dirty="0"/>
                        <a:t>(Assumed)</a:t>
                      </a:r>
                    </a:p>
                  </a:txBody>
                  <a:tcPr>
                    <a:solidFill>
                      <a:schemeClr val="bg1"/>
                    </a:solidFill>
                  </a:tcPr>
                </a:tc>
                <a:tc>
                  <a:txBody>
                    <a:bodyPr/>
                    <a:lstStyle/>
                    <a:p>
                      <a:r>
                        <a:rPr lang="en-US" sz="1000" b="1" dirty="0"/>
                        <a:t>Agent</a:t>
                      </a:r>
                      <a:endParaRPr lang="en-GB" sz="1000" b="1" dirty="0"/>
                    </a:p>
                  </a:txBody>
                  <a:tcPr>
                    <a:solidFill>
                      <a:schemeClr val="bg1"/>
                    </a:solidFill>
                  </a:tcPr>
                </a:tc>
                <a:extLst>
                  <a:ext uri="{0D108BD9-81ED-4DB2-BD59-A6C34878D82A}">
                    <a16:rowId xmlns:a16="http://schemas.microsoft.com/office/drawing/2014/main" val="650691270"/>
                  </a:ext>
                </a:extLst>
              </a:tr>
              <a:tr h="671013">
                <a:tc>
                  <a:txBody>
                    <a:bodyPr/>
                    <a:lstStyle/>
                    <a:p>
                      <a:r>
                        <a:rPr lang="fr-FR" sz="1000" b="1" dirty="0"/>
                        <a:t>Mobile Phone Contract (Mobile Communications Services)</a:t>
                      </a:r>
                      <a:endParaRPr lang="en-GB" sz="1000" b="1" dirty="0"/>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solidFill>
                            <a:schemeClr val="tx2"/>
                          </a:solidFill>
                        </a:rPr>
                        <a:t>Vodafone is </a:t>
                      </a:r>
                      <a:r>
                        <a:rPr lang="en-GB" sz="1000" dirty="0">
                          <a:solidFill>
                            <a:schemeClr val="tx2"/>
                          </a:solidFill>
                        </a:rPr>
                        <a:t>primarily responsible for fulfilling the promise</a:t>
                      </a:r>
                      <a:r>
                        <a:rPr lang="en-GB" sz="1000" b="0" dirty="0">
                          <a:solidFill>
                            <a:schemeClr val="tx2"/>
                          </a:solidFill>
                        </a:rPr>
                        <a:t> to provide the specified good/service</a:t>
                      </a:r>
                      <a:endParaRPr lang="en-GB" sz="1000" b="0" dirty="0">
                        <a:solidFill>
                          <a:schemeClr val="tx1"/>
                        </a:solidFill>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solidFill>
                            <a:schemeClr val="tx2"/>
                          </a:solidFill>
                        </a:rPr>
                        <a:t>Not applicable for this service</a:t>
                      </a:r>
                    </a:p>
                    <a:p>
                      <a:endParaRPr lang="en-GB" sz="1000" b="0" dirty="0"/>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2"/>
                          </a:solidFill>
                        </a:rPr>
                        <a:t>Vodafone sets the price as part of the bundle.</a:t>
                      </a:r>
                      <a:r>
                        <a:rPr lang="en-GB" sz="1000" dirty="0"/>
                        <a:t> (Assum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solidFill>
                          <a:schemeClr val="tx2"/>
                        </a:solidFill>
                      </a:endParaRPr>
                    </a:p>
                    <a:p>
                      <a:endParaRPr lang="en-GB" sz="1000" dirty="0"/>
                    </a:p>
                  </a:txBody>
                  <a:tcPr>
                    <a:solidFill>
                      <a:schemeClr val="bg1"/>
                    </a:solidFill>
                  </a:tcPr>
                </a:tc>
                <a:tc>
                  <a:txBody>
                    <a:bodyPr/>
                    <a:lstStyle/>
                    <a:p>
                      <a:r>
                        <a:rPr lang="en-US" sz="1000" b="1" dirty="0"/>
                        <a:t>Principal</a:t>
                      </a:r>
                      <a:endParaRPr lang="en-GB" sz="1000" b="1" dirty="0"/>
                    </a:p>
                  </a:txBody>
                  <a:tcPr>
                    <a:solidFill>
                      <a:schemeClr val="bg1"/>
                    </a:solidFill>
                  </a:tcPr>
                </a:tc>
                <a:extLst>
                  <a:ext uri="{0D108BD9-81ED-4DB2-BD59-A6C34878D82A}">
                    <a16:rowId xmlns:a16="http://schemas.microsoft.com/office/drawing/2014/main" val="3763753461"/>
                  </a:ext>
                </a:extLst>
              </a:tr>
            </a:tbl>
          </a:graphicData>
        </a:graphic>
      </p:graphicFrame>
      <p:sp>
        <p:nvSpPr>
          <p:cNvPr id="4" name="Frame 3">
            <a:extLst>
              <a:ext uri="{FF2B5EF4-FFF2-40B4-BE49-F238E27FC236}">
                <a16:creationId xmlns:a16="http://schemas.microsoft.com/office/drawing/2014/main" id="{2C8CD50D-DDA4-8619-C76A-C80A84F36CB8}"/>
              </a:ext>
            </a:extLst>
          </p:cNvPr>
          <p:cNvSpPr/>
          <p:nvPr/>
        </p:nvSpPr>
        <p:spPr bwMode="gray">
          <a:xfrm>
            <a:off x="10924327" y="1310692"/>
            <a:ext cx="1021529" cy="3170808"/>
          </a:xfrm>
          <a:prstGeom prst="frame">
            <a:avLst>
              <a:gd name="adj1" fmla="val 6224"/>
            </a:avLst>
          </a:prstGeom>
          <a:solidFill>
            <a:schemeClr val="tx1"/>
          </a:solidFill>
          <a:ln w="19050" algn="ctr">
            <a:noFill/>
            <a:miter lim="800000"/>
            <a:headEnd/>
            <a:tailEnd/>
          </a:ln>
        </p:spPr>
        <p:txBody>
          <a:bodyPr wrap="square" lIns="0" tIns="1371600" rIns="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1200" cap="none" spc="0" normalizeH="0" baseline="0" noProof="0" dirty="0">
                <a:ln>
                  <a:noFill/>
                </a:ln>
                <a:solidFill>
                  <a:srgbClr val="00D639"/>
                </a:solidFill>
                <a:effectLst/>
                <a:uLnTx/>
                <a:uFillTx/>
                <a:latin typeface="Aptos" panose="02110004020202020204"/>
                <a:ea typeface="+mn-ea"/>
                <a:cs typeface="+mn-cs"/>
              </a:rPr>
              <a:t>Step 2</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Identify performance obligations</a:t>
            </a:r>
          </a:p>
        </p:txBody>
      </p:sp>
      <p:sp>
        <p:nvSpPr>
          <p:cNvPr id="7" name="Freeform: Shape 6">
            <a:extLst>
              <a:ext uri="{FF2B5EF4-FFF2-40B4-BE49-F238E27FC236}">
                <a16:creationId xmlns:a16="http://schemas.microsoft.com/office/drawing/2014/main" id="{04634942-5FB2-E711-37BE-B7C36ED15909}"/>
              </a:ext>
            </a:extLst>
          </p:cNvPr>
          <p:cNvSpPr/>
          <p:nvPr/>
        </p:nvSpPr>
        <p:spPr>
          <a:xfrm>
            <a:off x="11141793" y="1924834"/>
            <a:ext cx="392452" cy="545232"/>
          </a:xfrm>
          <a:custGeom>
            <a:avLst/>
            <a:gdLst>
              <a:gd name="connsiteX0" fmla="*/ 0 w 779528"/>
              <a:gd name="connsiteY0" fmla="*/ 24 h 1111914"/>
              <a:gd name="connsiteX1" fmla="*/ 0 w 779528"/>
              <a:gd name="connsiteY1" fmla="*/ 1111914 h 1111914"/>
              <a:gd name="connsiteX2" fmla="*/ 691257 w 779528"/>
              <a:gd name="connsiteY2" fmla="*/ 1111914 h 1111914"/>
              <a:gd name="connsiteX3" fmla="*/ 694819 w 779528"/>
              <a:gd name="connsiteY3" fmla="*/ 962295 h 1111914"/>
              <a:gd name="connsiteX4" fmla="*/ 696496 w 779528"/>
              <a:gd name="connsiteY4" fmla="*/ 892427 h 1111914"/>
              <a:gd name="connsiteX5" fmla="*/ 697481 w 779528"/>
              <a:gd name="connsiteY5" fmla="*/ 883663 h 1111914"/>
              <a:gd name="connsiteX6" fmla="*/ 705066 w 779528"/>
              <a:gd name="connsiteY6" fmla="*/ 865515 h 1111914"/>
              <a:gd name="connsiteX7" fmla="*/ 711362 w 779528"/>
              <a:gd name="connsiteY7" fmla="*/ 857894 h 1111914"/>
              <a:gd name="connsiteX8" fmla="*/ 711435 w 779528"/>
              <a:gd name="connsiteY8" fmla="*/ 857821 h 1111914"/>
              <a:gd name="connsiteX9" fmla="*/ 711508 w 779528"/>
              <a:gd name="connsiteY9" fmla="*/ 857748 h 1111914"/>
              <a:gd name="connsiteX10" fmla="*/ 730665 w 779528"/>
              <a:gd name="connsiteY10" fmla="*/ 845921 h 1111914"/>
              <a:gd name="connsiteX11" fmla="*/ 730665 w 779528"/>
              <a:gd name="connsiteY11" fmla="*/ 753371 h 1111914"/>
              <a:gd name="connsiteX12" fmla="*/ 555216 w 779528"/>
              <a:gd name="connsiteY12" fmla="*/ 670350 h 1111914"/>
              <a:gd name="connsiteX13" fmla="*/ 510253 w 779528"/>
              <a:gd name="connsiteY13" fmla="*/ 620477 h 1111914"/>
              <a:gd name="connsiteX14" fmla="*/ 224009 w 779528"/>
              <a:gd name="connsiteY14" fmla="*/ 620477 h 1111914"/>
              <a:gd name="connsiteX15" fmla="*/ 212340 w 779528"/>
              <a:gd name="connsiteY15" fmla="*/ 608820 h 1111914"/>
              <a:gd name="connsiteX16" fmla="*/ 224009 w 779528"/>
              <a:gd name="connsiteY16" fmla="*/ 597151 h 1111914"/>
              <a:gd name="connsiteX17" fmla="*/ 494585 w 779528"/>
              <a:gd name="connsiteY17" fmla="*/ 597151 h 1111914"/>
              <a:gd name="connsiteX18" fmla="*/ 459639 w 779528"/>
              <a:gd name="connsiteY18" fmla="*/ 518956 h 1111914"/>
              <a:gd name="connsiteX19" fmla="*/ 84418 w 779528"/>
              <a:gd name="connsiteY19" fmla="*/ 518956 h 1111914"/>
              <a:gd name="connsiteX20" fmla="*/ 72749 w 779528"/>
              <a:gd name="connsiteY20" fmla="*/ 507287 h 1111914"/>
              <a:gd name="connsiteX21" fmla="*/ 84418 w 779528"/>
              <a:gd name="connsiteY21" fmla="*/ 495631 h 1111914"/>
              <a:gd name="connsiteX22" fmla="*/ 453561 w 779528"/>
              <a:gd name="connsiteY22" fmla="*/ 495631 h 1111914"/>
              <a:gd name="connsiteX23" fmla="*/ 451069 w 779528"/>
              <a:gd name="connsiteY23" fmla="*/ 483220 h 1111914"/>
              <a:gd name="connsiteX24" fmla="*/ 445916 w 779528"/>
              <a:gd name="connsiteY24" fmla="*/ 436738 h 1111914"/>
              <a:gd name="connsiteX25" fmla="*/ 445612 w 779528"/>
              <a:gd name="connsiteY25" fmla="*/ 423039 h 1111914"/>
              <a:gd name="connsiteX26" fmla="*/ 445685 w 779528"/>
              <a:gd name="connsiteY26" fmla="*/ 417436 h 1111914"/>
              <a:gd name="connsiteX27" fmla="*/ 84418 w 779528"/>
              <a:gd name="connsiteY27" fmla="*/ 417436 h 1111914"/>
              <a:gd name="connsiteX28" fmla="*/ 72749 w 779528"/>
              <a:gd name="connsiteY28" fmla="*/ 405767 h 1111914"/>
              <a:gd name="connsiteX29" fmla="*/ 84418 w 779528"/>
              <a:gd name="connsiteY29" fmla="*/ 394098 h 1111914"/>
              <a:gd name="connsiteX30" fmla="*/ 446876 w 779528"/>
              <a:gd name="connsiteY30" fmla="*/ 394098 h 1111914"/>
              <a:gd name="connsiteX31" fmla="*/ 459068 w 779528"/>
              <a:gd name="connsiteY31" fmla="*/ 328958 h 1111914"/>
              <a:gd name="connsiteX32" fmla="*/ 463176 w 779528"/>
              <a:gd name="connsiteY32" fmla="*/ 315915 h 1111914"/>
              <a:gd name="connsiteX33" fmla="*/ 121334 w 779528"/>
              <a:gd name="connsiteY33" fmla="*/ 315915 h 1111914"/>
              <a:gd name="connsiteX34" fmla="*/ 109665 w 779528"/>
              <a:gd name="connsiteY34" fmla="*/ 304246 h 1111914"/>
              <a:gd name="connsiteX35" fmla="*/ 121334 w 779528"/>
              <a:gd name="connsiteY35" fmla="*/ 292577 h 1111914"/>
              <a:gd name="connsiteX36" fmla="*/ 472074 w 779528"/>
              <a:gd name="connsiteY36" fmla="*/ 292577 h 1111914"/>
              <a:gd name="connsiteX37" fmla="*/ 492823 w 779528"/>
              <a:gd name="connsiteY37" fmla="*/ 251808 h 1111914"/>
              <a:gd name="connsiteX38" fmla="*/ 492847 w 779528"/>
              <a:gd name="connsiteY38" fmla="*/ 251748 h 1111914"/>
              <a:gd name="connsiteX39" fmla="*/ 493941 w 779528"/>
              <a:gd name="connsiteY39" fmla="*/ 249973 h 1111914"/>
              <a:gd name="connsiteX40" fmla="*/ 518847 w 779528"/>
              <a:gd name="connsiteY40" fmla="*/ 214382 h 1111914"/>
              <a:gd name="connsiteX41" fmla="*/ 84418 w 779528"/>
              <a:gd name="connsiteY41" fmla="*/ 214382 h 1111914"/>
              <a:gd name="connsiteX42" fmla="*/ 72749 w 779528"/>
              <a:gd name="connsiteY42" fmla="*/ 202725 h 1111914"/>
              <a:gd name="connsiteX43" fmla="*/ 84418 w 779528"/>
              <a:gd name="connsiteY43" fmla="*/ 191056 h 1111914"/>
              <a:gd name="connsiteX44" fmla="*/ 539389 w 779528"/>
              <a:gd name="connsiteY44" fmla="*/ 191056 h 1111914"/>
              <a:gd name="connsiteX45" fmla="*/ 579101 w 779528"/>
              <a:gd name="connsiteY45" fmla="*/ 155976 h 1111914"/>
              <a:gd name="connsiteX46" fmla="*/ 624039 w 779528"/>
              <a:gd name="connsiteY46" fmla="*/ 127484 h 1111914"/>
              <a:gd name="connsiteX47" fmla="*/ 624440 w 779528"/>
              <a:gd name="connsiteY47" fmla="*/ 127266 h 1111914"/>
              <a:gd name="connsiteX48" fmla="*/ 624950 w 779528"/>
              <a:gd name="connsiteY48" fmla="*/ 126998 h 1111914"/>
              <a:gd name="connsiteX49" fmla="*/ 779492 w 779528"/>
              <a:gd name="connsiteY49" fmla="*/ 89134 h 1111914"/>
              <a:gd name="connsiteX50" fmla="*/ 779529 w 779528"/>
              <a:gd name="connsiteY50" fmla="*/ 89134 h 1111914"/>
              <a:gd name="connsiteX51" fmla="*/ 779529 w 779528"/>
              <a:gd name="connsiteY51" fmla="*/ 0 h 1111914"/>
              <a:gd name="connsiteX52" fmla="*/ 0 w 779528"/>
              <a:gd name="connsiteY52" fmla="*/ 0 h 1111914"/>
              <a:gd name="connsiteX53" fmla="*/ 652263 w 779528"/>
              <a:gd name="connsiteY53" fmla="*/ 973843 h 1111914"/>
              <a:gd name="connsiteX54" fmla="*/ 499994 w 779528"/>
              <a:gd name="connsiteY54" fmla="*/ 973843 h 1111914"/>
              <a:gd name="connsiteX55" fmla="*/ 488325 w 779528"/>
              <a:gd name="connsiteY55" fmla="*/ 962174 h 1111914"/>
              <a:gd name="connsiteX56" fmla="*/ 499994 w 779528"/>
              <a:gd name="connsiteY56" fmla="*/ 950517 h 1111914"/>
              <a:gd name="connsiteX57" fmla="*/ 652263 w 779528"/>
              <a:gd name="connsiteY57" fmla="*/ 950517 h 1111914"/>
              <a:gd name="connsiteX58" fmla="*/ 663932 w 779528"/>
              <a:gd name="connsiteY58" fmla="*/ 962174 h 1111914"/>
              <a:gd name="connsiteX59" fmla="*/ 652263 w 779528"/>
              <a:gd name="connsiteY59" fmla="*/ 973843 h 1111914"/>
              <a:gd name="connsiteX60" fmla="*/ 383097 w 779528"/>
              <a:gd name="connsiteY60" fmla="*/ 786713 h 1111914"/>
              <a:gd name="connsiteX61" fmla="*/ 655351 w 779528"/>
              <a:gd name="connsiteY61" fmla="*/ 786713 h 1111914"/>
              <a:gd name="connsiteX62" fmla="*/ 667020 w 779528"/>
              <a:gd name="connsiteY62" fmla="*/ 798382 h 1111914"/>
              <a:gd name="connsiteX63" fmla="*/ 655351 w 779528"/>
              <a:gd name="connsiteY63" fmla="*/ 810051 h 1111914"/>
              <a:gd name="connsiteX64" fmla="*/ 383097 w 779528"/>
              <a:gd name="connsiteY64" fmla="*/ 810051 h 1111914"/>
              <a:gd name="connsiteX65" fmla="*/ 371428 w 779528"/>
              <a:gd name="connsiteY65" fmla="*/ 798382 h 1111914"/>
              <a:gd name="connsiteX66" fmla="*/ 383097 w 779528"/>
              <a:gd name="connsiteY66" fmla="*/ 786713 h 1111914"/>
              <a:gd name="connsiteX67" fmla="*/ 182086 w 779528"/>
              <a:gd name="connsiteY67" fmla="*/ 747876 h 1111914"/>
              <a:gd name="connsiteX68" fmla="*/ 314493 w 779528"/>
              <a:gd name="connsiteY68" fmla="*/ 880296 h 1111914"/>
              <a:gd name="connsiteX69" fmla="*/ 182086 w 779528"/>
              <a:gd name="connsiteY69" fmla="*/ 1012703 h 1111914"/>
              <a:gd name="connsiteX70" fmla="*/ 49679 w 779528"/>
              <a:gd name="connsiteY70" fmla="*/ 880296 h 1111914"/>
              <a:gd name="connsiteX71" fmla="*/ 182086 w 779528"/>
              <a:gd name="connsiteY71" fmla="*/ 747876 h 1111914"/>
              <a:gd name="connsiteX72" fmla="*/ 506631 w 779528"/>
              <a:gd name="connsiteY72" fmla="*/ 112886 h 1111914"/>
              <a:gd name="connsiteX73" fmla="*/ 195165 w 779528"/>
              <a:gd name="connsiteY73" fmla="*/ 112886 h 1111914"/>
              <a:gd name="connsiteX74" fmla="*/ 183496 w 779528"/>
              <a:gd name="connsiteY74" fmla="*/ 101217 h 1111914"/>
              <a:gd name="connsiteX75" fmla="*/ 195165 w 779528"/>
              <a:gd name="connsiteY75" fmla="*/ 89548 h 1111914"/>
              <a:gd name="connsiteX76" fmla="*/ 506631 w 779528"/>
              <a:gd name="connsiteY76" fmla="*/ 89548 h 1111914"/>
              <a:gd name="connsiteX77" fmla="*/ 518300 w 779528"/>
              <a:gd name="connsiteY77" fmla="*/ 101217 h 1111914"/>
              <a:gd name="connsiteX78" fmla="*/ 506631 w 779528"/>
              <a:gd name="connsiteY78" fmla="*/ 112886 h 111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779528" h="1111914">
                <a:moveTo>
                  <a:pt x="0" y="24"/>
                </a:moveTo>
                <a:lnTo>
                  <a:pt x="0" y="1111914"/>
                </a:lnTo>
                <a:lnTo>
                  <a:pt x="691257" y="1111914"/>
                </a:lnTo>
                <a:lnTo>
                  <a:pt x="694819" y="962295"/>
                </a:lnTo>
                <a:lnTo>
                  <a:pt x="696496" y="892427"/>
                </a:lnTo>
                <a:cubicBezTo>
                  <a:pt x="696569" y="889424"/>
                  <a:pt x="696909" y="886507"/>
                  <a:pt x="697481" y="883663"/>
                </a:cubicBezTo>
                <a:cubicBezTo>
                  <a:pt x="698806" y="877050"/>
                  <a:pt x="701419" y="870912"/>
                  <a:pt x="705066" y="865515"/>
                </a:cubicBezTo>
                <a:cubicBezTo>
                  <a:pt x="706913" y="862768"/>
                  <a:pt x="709028" y="860215"/>
                  <a:pt x="711362" y="857894"/>
                </a:cubicBezTo>
                <a:cubicBezTo>
                  <a:pt x="711386" y="857869"/>
                  <a:pt x="711411" y="857845"/>
                  <a:pt x="711435" y="857821"/>
                </a:cubicBezTo>
                <a:lnTo>
                  <a:pt x="711508" y="857748"/>
                </a:lnTo>
                <a:cubicBezTo>
                  <a:pt x="716868" y="852472"/>
                  <a:pt x="723396" y="848388"/>
                  <a:pt x="730665" y="845921"/>
                </a:cubicBezTo>
                <a:lnTo>
                  <a:pt x="730665" y="753371"/>
                </a:lnTo>
                <a:cubicBezTo>
                  <a:pt x="663628" y="743549"/>
                  <a:pt x="603095" y="713805"/>
                  <a:pt x="555216" y="670350"/>
                </a:cubicBezTo>
                <a:cubicBezTo>
                  <a:pt x="538624" y="655290"/>
                  <a:pt x="523539" y="638576"/>
                  <a:pt x="510253" y="620477"/>
                </a:cubicBezTo>
                <a:lnTo>
                  <a:pt x="224009" y="620477"/>
                </a:lnTo>
                <a:cubicBezTo>
                  <a:pt x="217567" y="620477"/>
                  <a:pt x="212340" y="615263"/>
                  <a:pt x="212340" y="608820"/>
                </a:cubicBezTo>
                <a:cubicBezTo>
                  <a:pt x="212340" y="602378"/>
                  <a:pt x="217555" y="597151"/>
                  <a:pt x="224009" y="597151"/>
                </a:cubicBezTo>
                <a:lnTo>
                  <a:pt x="494585" y="597151"/>
                </a:lnTo>
                <a:cubicBezTo>
                  <a:pt x="479768" y="572950"/>
                  <a:pt x="467941" y="546719"/>
                  <a:pt x="459639" y="518956"/>
                </a:cubicBezTo>
                <a:lnTo>
                  <a:pt x="84418" y="518956"/>
                </a:lnTo>
                <a:cubicBezTo>
                  <a:pt x="77976" y="518956"/>
                  <a:pt x="72749" y="513730"/>
                  <a:pt x="72749" y="507287"/>
                </a:cubicBezTo>
                <a:cubicBezTo>
                  <a:pt x="72749" y="500845"/>
                  <a:pt x="77964" y="495631"/>
                  <a:pt x="84418" y="495631"/>
                </a:cubicBezTo>
                <a:lnTo>
                  <a:pt x="453561" y="495631"/>
                </a:lnTo>
                <a:cubicBezTo>
                  <a:pt x="452637" y="491522"/>
                  <a:pt x="451823" y="487389"/>
                  <a:pt x="451069" y="483220"/>
                </a:cubicBezTo>
                <a:cubicBezTo>
                  <a:pt x="448298" y="468050"/>
                  <a:pt x="446548" y="452540"/>
                  <a:pt x="445916" y="436738"/>
                </a:cubicBezTo>
                <a:cubicBezTo>
                  <a:pt x="445733" y="432192"/>
                  <a:pt x="445612" y="427634"/>
                  <a:pt x="445612" y="423039"/>
                </a:cubicBezTo>
                <a:cubicBezTo>
                  <a:pt x="445612" y="421168"/>
                  <a:pt x="445660" y="419296"/>
                  <a:pt x="445685" y="417436"/>
                </a:cubicBezTo>
                <a:lnTo>
                  <a:pt x="84418" y="417436"/>
                </a:lnTo>
                <a:cubicBezTo>
                  <a:pt x="77976" y="417436"/>
                  <a:pt x="72749" y="412221"/>
                  <a:pt x="72749" y="405767"/>
                </a:cubicBezTo>
                <a:cubicBezTo>
                  <a:pt x="72749" y="399312"/>
                  <a:pt x="77964" y="394098"/>
                  <a:pt x="84418" y="394098"/>
                </a:cubicBezTo>
                <a:lnTo>
                  <a:pt x="446876" y="394098"/>
                </a:lnTo>
                <a:cubicBezTo>
                  <a:pt x="448809" y="371683"/>
                  <a:pt x="452941" y="349901"/>
                  <a:pt x="459068" y="328958"/>
                </a:cubicBezTo>
                <a:cubicBezTo>
                  <a:pt x="460356" y="324570"/>
                  <a:pt x="461717" y="320230"/>
                  <a:pt x="463176" y="315915"/>
                </a:cubicBezTo>
                <a:lnTo>
                  <a:pt x="121334" y="315915"/>
                </a:lnTo>
                <a:cubicBezTo>
                  <a:pt x="114891" y="315915"/>
                  <a:pt x="109665" y="310688"/>
                  <a:pt x="109665" y="304246"/>
                </a:cubicBezTo>
                <a:cubicBezTo>
                  <a:pt x="109665" y="297804"/>
                  <a:pt x="114879" y="292577"/>
                  <a:pt x="121334" y="292577"/>
                </a:cubicBezTo>
                <a:lnTo>
                  <a:pt x="472074" y="292577"/>
                </a:lnTo>
                <a:cubicBezTo>
                  <a:pt x="478078" y="278465"/>
                  <a:pt x="485019" y="264851"/>
                  <a:pt x="492823" y="251808"/>
                </a:cubicBezTo>
                <a:cubicBezTo>
                  <a:pt x="492835" y="251796"/>
                  <a:pt x="492835" y="251772"/>
                  <a:pt x="492847" y="251748"/>
                </a:cubicBezTo>
                <a:cubicBezTo>
                  <a:pt x="493212" y="251164"/>
                  <a:pt x="493576" y="250556"/>
                  <a:pt x="493941" y="249973"/>
                </a:cubicBezTo>
                <a:cubicBezTo>
                  <a:pt x="501489" y="237550"/>
                  <a:pt x="509791" y="225675"/>
                  <a:pt x="518847" y="214382"/>
                </a:cubicBezTo>
                <a:lnTo>
                  <a:pt x="84418" y="214382"/>
                </a:lnTo>
                <a:cubicBezTo>
                  <a:pt x="77976" y="214382"/>
                  <a:pt x="72749" y="209155"/>
                  <a:pt x="72749" y="202725"/>
                </a:cubicBezTo>
                <a:cubicBezTo>
                  <a:pt x="72749" y="196295"/>
                  <a:pt x="77964" y="191056"/>
                  <a:pt x="84418" y="191056"/>
                </a:cubicBezTo>
                <a:lnTo>
                  <a:pt x="539389" y="191056"/>
                </a:lnTo>
                <a:cubicBezTo>
                  <a:pt x="551666" y="178354"/>
                  <a:pt x="564940" y="166612"/>
                  <a:pt x="579101" y="155976"/>
                </a:cubicBezTo>
                <a:cubicBezTo>
                  <a:pt x="593249" y="145340"/>
                  <a:pt x="608285" y="135799"/>
                  <a:pt x="624039" y="127484"/>
                </a:cubicBezTo>
                <a:cubicBezTo>
                  <a:pt x="624172" y="127411"/>
                  <a:pt x="624306" y="127326"/>
                  <a:pt x="624440" y="127266"/>
                </a:cubicBezTo>
                <a:cubicBezTo>
                  <a:pt x="624622" y="127180"/>
                  <a:pt x="624780" y="127083"/>
                  <a:pt x="624950" y="126998"/>
                </a:cubicBezTo>
                <a:cubicBezTo>
                  <a:pt x="671152" y="102821"/>
                  <a:pt x="723724" y="89134"/>
                  <a:pt x="779492" y="89134"/>
                </a:cubicBezTo>
                <a:lnTo>
                  <a:pt x="779529" y="89134"/>
                </a:lnTo>
                <a:lnTo>
                  <a:pt x="779529" y="0"/>
                </a:lnTo>
                <a:lnTo>
                  <a:pt x="0" y="0"/>
                </a:lnTo>
                <a:close/>
                <a:moveTo>
                  <a:pt x="652263" y="973843"/>
                </a:moveTo>
                <a:lnTo>
                  <a:pt x="499994" y="973843"/>
                </a:lnTo>
                <a:cubicBezTo>
                  <a:pt x="493552" y="973843"/>
                  <a:pt x="488325" y="968628"/>
                  <a:pt x="488325" y="962174"/>
                </a:cubicBezTo>
                <a:cubicBezTo>
                  <a:pt x="488325" y="955719"/>
                  <a:pt x="493540" y="950517"/>
                  <a:pt x="499994" y="950517"/>
                </a:cubicBezTo>
                <a:lnTo>
                  <a:pt x="652263" y="950517"/>
                </a:lnTo>
                <a:cubicBezTo>
                  <a:pt x="658706" y="950517"/>
                  <a:pt x="663932" y="955731"/>
                  <a:pt x="663932" y="962174"/>
                </a:cubicBezTo>
                <a:cubicBezTo>
                  <a:pt x="663932" y="968616"/>
                  <a:pt x="658718" y="973843"/>
                  <a:pt x="652263" y="973843"/>
                </a:cubicBezTo>
                <a:close/>
                <a:moveTo>
                  <a:pt x="383097" y="786713"/>
                </a:moveTo>
                <a:lnTo>
                  <a:pt x="655351" y="786713"/>
                </a:lnTo>
                <a:cubicBezTo>
                  <a:pt x="661793" y="786713"/>
                  <a:pt x="667020" y="791927"/>
                  <a:pt x="667020" y="798382"/>
                </a:cubicBezTo>
                <a:cubicBezTo>
                  <a:pt x="667020" y="804836"/>
                  <a:pt x="661793" y="810051"/>
                  <a:pt x="655351" y="810051"/>
                </a:cubicBezTo>
                <a:lnTo>
                  <a:pt x="383097" y="810051"/>
                </a:lnTo>
                <a:cubicBezTo>
                  <a:pt x="376667" y="810051"/>
                  <a:pt x="371428" y="804812"/>
                  <a:pt x="371428" y="798382"/>
                </a:cubicBezTo>
                <a:cubicBezTo>
                  <a:pt x="371428" y="791951"/>
                  <a:pt x="376667" y="786713"/>
                  <a:pt x="383097" y="786713"/>
                </a:cubicBezTo>
                <a:close/>
                <a:moveTo>
                  <a:pt x="182086" y="747876"/>
                </a:moveTo>
                <a:cubicBezTo>
                  <a:pt x="255102" y="747876"/>
                  <a:pt x="314493" y="807279"/>
                  <a:pt x="314493" y="880296"/>
                </a:cubicBezTo>
                <a:cubicBezTo>
                  <a:pt x="314493" y="953312"/>
                  <a:pt x="255102" y="1012703"/>
                  <a:pt x="182086" y="1012703"/>
                </a:cubicBezTo>
                <a:cubicBezTo>
                  <a:pt x="109069" y="1012703"/>
                  <a:pt x="49679" y="953300"/>
                  <a:pt x="49679" y="880296"/>
                </a:cubicBezTo>
                <a:cubicBezTo>
                  <a:pt x="49679" y="807291"/>
                  <a:pt x="109069" y="747876"/>
                  <a:pt x="182086" y="747876"/>
                </a:cubicBezTo>
                <a:close/>
                <a:moveTo>
                  <a:pt x="506631" y="112886"/>
                </a:moveTo>
                <a:lnTo>
                  <a:pt x="195165" y="112886"/>
                </a:lnTo>
                <a:cubicBezTo>
                  <a:pt x="188735" y="112886"/>
                  <a:pt x="183496" y="107659"/>
                  <a:pt x="183496" y="101217"/>
                </a:cubicBezTo>
                <a:cubicBezTo>
                  <a:pt x="183496" y="94775"/>
                  <a:pt x="188735" y="89548"/>
                  <a:pt x="195165" y="89548"/>
                </a:cubicBezTo>
                <a:lnTo>
                  <a:pt x="506631" y="89548"/>
                </a:lnTo>
                <a:cubicBezTo>
                  <a:pt x="513073" y="89548"/>
                  <a:pt x="518300" y="94787"/>
                  <a:pt x="518300" y="101217"/>
                </a:cubicBezTo>
                <a:cubicBezTo>
                  <a:pt x="518300" y="107647"/>
                  <a:pt x="513073" y="112886"/>
                  <a:pt x="506631" y="112886"/>
                </a:cubicBezTo>
                <a:close/>
              </a:path>
            </a:pathLst>
          </a:custGeom>
          <a:solidFill>
            <a:srgbClr val="00D63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8" name="Freeform: Shape 7">
            <a:extLst>
              <a:ext uri="{FF2B5EF4-FFF2-40B4-BE49-F238E27FC236}">
                <a16:creationId xmlns:a16="http://schemas.microsoft.com/office/drawing/2014/main" id="{BE467ACC-3AE3-16F1-DB65-BD271451509E}"/>
              </a:ext>
            </a:extLst>
          </p:cNvPr>
          <p:cNvSpPr/>
          <p:nvPr/>
        </p:nvSpPr>
        <p:spPr>
          <a:xfrm>
            <a:off x="11364391" y="1961378"/>
            <a:ext cx="336164" cy="327457"/>
          </a:xfrm>
          <a:custGeom>
            <a:avLst/>
            <a:gdLst>
              <a:gd name="connsiteX0" fmla="*/ 423270 w 667724"/>
              <a:gd name="connsiteY0" fmla="*/ 12155 h 667797"/>
              <a:gd name="connsiteX1" fmla="*/ 345489 w 667724"/>
              <a:gd name="connsiteY1" fmla="*/ 231 h 667797"/>
              <a:gd name="connsiteX2" fmla="*/ 341162 w 667724"/>
              <a:gd name="connsiteY2" fmla="*/ 97 h 667797"/>
              <a:gd name="connsiteX3" fmla="*/ 333881 w 667724"/>
              <a:gd name="connsiteY3" fmla="*/ 0 h 667797"/>
              <a:gd name="connsiteX4" fmla="*/ 179339 w 667724"/>
              <a:gd name="connsiteY4" fmla="*/ 37864 h 667797"/>
              <a:gd name="connsiteX5" fmla="*/ 178828 w 667724"/>
              <a:gd name="connsiteY5" fmla="*/ 38131 h 667797"/>
              <a:gd name="connsiteX6" fmla="*/ 178415 w 667724"/>
              <a:gd name="connsiteY6" fmla="*/ 38350 h 667797"/>
              <a:gd name="connsiteX7" fmla="*/ 93778 w 667724"/>
              <a:gd name="connsiteY7" fmla="*/ 101910 h 667797"/>
              <a:gd name="connsiteX8" fmla="*/ 93766 w 667724"/>
              <a:gd name="connsiteY8" fmla="*/ 101910 h 667797"/>
              <a:gd name="connsiteX9" fmla="*/ 73223 w 667724"/>
              <a:gd name="connsiteY9" fmla="*/ 125248 h 667797"/>
              <a:gd name="connsiteX10" fmla="*/ 48317 w 667724"/>
              <a:gd name="connsiteY10" fmla="*/ 160826 h 667797"/>
              <a:gd name="connsiteX11" fmla="*/ 47235 w 667724"/>
              <a:gd name="connsiteY11" fmla="*/ 162601 h 667797"/>
              <a:gd name="connsiteX12" fmla="*/ 47199 w 667724"/>
              <a:gd name="connsiteY12" fmla="*/ 162662 h 667797"/>
              <a:gd name="connsiteX13" fmla="*/ 26462 w 667724"/>
              <a:gd name="connsiteY13" fmla="*/ 203430 h 667797"/>
              <a:gd name="connsiteX14" fmla="*/ 26450 w 667724"/>
              <a:gd name="connsiteY14" fmla="*/ 203430 h 667797"/>
              <a:gd name="connsiteX15" fmla="*/ 17552 w 667724"/>
              <a:gd name="connsiteY15" fmla="*/ 226768 h 667797"/>
              <a:gd name="connsiteX16" fmla="*/ 17564 w 667724"/>
              <a:gd name="connsiteY16" fmla="*/ 226768 h 667797"/>
              <a:gd name="connsiteX17" fmla="*/ 13444 w 667724"/>
              <a:gd name="connsiteY17" fmla="*/ 239811 h 667797"/>
              <a:gd name="connsiteX18" fmla="*/ 1264 w 667724"/>
              <a:gd name="connsiteY18" fmla="*/ 304951 h 667797"/>
              <a:gd name="connsiteX19" fmla="*/ 73 w 667724"/>
              <a:gd name="connsiteY19" fmla="*/ 328289 h 667797"/>
              <a:gd name="connsiteX20" fmla="*/ 0 w 667724"/>
              <a:gd name="connsiteY20" fmla="*/ 333893 h 667797"/>
              <a:gd name="connsiteX21" fmla="*/ 304 w 667724"/>
              <a:gd name="connsiteY21" fmla="*/ 347592 h 667797"/>
              <a:gd name="connsiteX22" fmla="*/ 5446 w 667724"/>
              <a:gd name="connsiteY22" fmla="*/ 394098 h 667797"/>
              <a:gd name="connsiteX23" fmla="*/ 7950 w 667724"/>
              <a:gd name="connsiteY23" fmla="*/ 406496 h 667797"/>
              <a:gd name="connsiteX24" fmla="*/ 7937 w 667724"/>
              <a:gd name="connsiteY24" fmla="*/ 406496 h 667797"/>
              <a:gd name="connsiteX25" fmla="*/ 14027 w 667724"/>
              <a:gd name="connsiteY25" fmla="*/ 429822 h 667797"/>
              <a:gd name="connsiteX26" fmla="*/ 48974 w 667724"/>
              <a:gd name="connsiteY26" fmla="*/ 508017 h 667797"/>
              <a:gd name="connsiteX27" fmla="*/ 64630 w 667724"/>
              <a:gd name="connsiteY27" fmla="*/ 531343 h 667797"/>
              <a:gd name="connsiteX28" fmla="*/ 64642 w 667724"/>
              <a:gd name="connsiteY28" fmla="*/ 531343 h 667797"/>
              <a:gd name="connsiteX29" fmla="*/ 109604 w 667724"/>
              <a:gd name="connsiteY29" fmla="*/ 581216 h 667797"/>
              <a:gd name="connsiteX30" fmla="*/ 285041 w 667724"/>
              <a:gd name="connsiteY30" fmla="*/ 664236 h 667797"/>
              <a:gd name="connsiteX31" fmla="*/ 285053 w 667724"/>
              <a:gd name="connsiteY31" fmla="*/ 664236 h 667797"/>
              <a:gd name="connsiteX32" fmla="*/ 333868 w 667724"/>
              <a:gd name="connsiteY32" fmla="*/ 667798 h 667797"/>
              <a:gd name="connsiteX33" fmla="*/ 345452 w 667724"/>
              <a:gd name="connsiteY33" fmla="*/ 667591 h 667797"/>
              <a:gd name="connsiteX34" fmla="*/ 382745 w 667724"/>
              <a:gd name="connsiteY34" fmla="*/ 664224 h 667797"/>
              <a:gd name="connsiteX35" fmla="*/ 423246 w 667724"/>
              <a:gd name="connsiteY35" fmla="*/ 655655 h 667797"/>
              <a:gd name="connsiteX36" fmla="*/ 667421 w 667724"/>
              <a:gd name="connsiteY36" fmla="*/ 347616 h 667797"/>
              <a:gd name="connsiteX37" fmla="*/ 667725 w 667724"/>
              <a:gd name="connsiteY37" fmla="*/ 333917 h 667797"/>
              <a:gd name="connsiteX38" fmla="*/ 423234 w 667724"/>
              <a:gd name="connsiteY38" fmla="*/ 12192 h 667797"/>
              <a:gd name="connsiteX39" fmla="*/ 578213 w 667724"/>
              <a:gd name="connsiteY39" fmla="*/ 339788 h 667797"/>
              <a:gd name="connsiteX40" fmla="*/ 578104 w 667724"/>
              <a:gd name="connsiteY40" fmla="*/ 343374 h 667797"/>
              <a:gd name="connsiteX41" fmla="*/ 578019 w 667724"/>
              <a:gd name="connsiteY41" fmla="*/ 345489 h 667797"/>
              <a:gd name="connsiteX42" fmla="*/ 577946 w 667724"/>
              <a:gd name="connsiteY42" fmla="*/ 346923 h 667797"/>
              <a:gd name="connsiteX43" fmla="*/ 577788 w 667724"/>
              <a:gd name="connsiteY43" fmla="*/ 349549 h 667797"/>
              <a:gd name="connsiteX44" fmla="*/ 577764 w 667724"/>
              <a:gd name="connsiteY44" fmla="*/ 350096 h 667797"/>
              <a:gd name="connsiteX45" fmla="*/ 577302 w 667724"/>
              <a:gd name="connsiteY45" fmla="*/ 355906 h 667797"/>
              <a:gd name="connsiteX46" fmla="*/ 577010 w 667724"/>
              <a:gd name="connsiteY46" fmla="*/ 359006 h 667797"/>
              <a:gd name="connsiteX47" fmla="*/ 576293 w 667724"/>
              <a:gd name="connsiteY47" fmla="*/ 365168 h 667797"/>
              <a:gd name="connsiteX48" fmla="*/ 575880 w 667724"/>
              <a:gd name="connsiteY48" fmla="*/ 368243 h 667797"/>
              <a:gd name="connsiteX49" fmla="*/ 574944 w 667724"/>
              <a:gd name="connsiteY49" fmla="*/ 374345 h 667797"/>
              <a:gd name="connsiteX50" fmla="*/ 574421 w 667724"/>
              <a:gd name="connsiteY50" fmla="*/ 377372 h 667797"/>
              <a:gd name="connsiteX51" fmla="*/ 573862 w 667724"/>
              <a:gd name="connsiteY51" fmla="*/ 380399 h 667797"/>
              <a:gd name="connsiteX52" fmla="*/ 573266 w 667724"/>
              <a:gd name="connsiteY52" fmla="*/ 383401 h 667797"/>
              <a:gd name="connsiteX53" fmla="*/ 572622 w 667724"/>
              <a:gd name="connsiteY53" fmla="*/ 386403 h 667797"/>
              <a:gd name="connsiteX54" fmla="*/ 571248 w 667724"/>
              <a:gd name="connsiteY54" fmla="*/ 392335 h 667797"/>
              <a:gd name="connsiteX55" fmla="*/ 569717 w 667724"/>
              <a:gd name="connsiteY55" fmla="*/ 398218 h 667797"/>
              <a:gd name="connsiteX56" fmla="*/ 569036 w 667724"/>
              <a:gd name="connsiteY56" fmla="*/ 400686 h 667797"/>
              <a:gd name="connsiteX57" fmla="*/ 568744 w 667724"/>
              <a:gd name="connsiteY57" fmla="*/ 401695 h 667797"/>
              <a:gd name="connsiteX58" fmla="*/ 567565 w 667724"/>
              <a:gd name="connsiteY58" fmla="*/ 405633 h 667797"/>
              <a:gd name="connsiteX59" fmla="*/ 566702 w 667724"/>
              <a:gd name="connsiteY59" fmla="*/ 408429 h 667797"/>
              <a:gd name="connsiteX60" fmla="*/ 565888 w 667724"/>
              <a:gd name="connsiteY60" fmla="*/ 410921 h 667797"/>
              <a:gd name="connsiteX61" fmla="*/ 565305 w 667724"/>
              <a:gd name="connsiteY61" fmla="*/ 412683 h 667797"/>
              <a:gd name="connsiteX62" fmla="*/ 564308 w 667724"/>
              <a:gd name="connsiteY62" fmla="*/ 415527 h 667797"/>
              <a:gd name="connsiteX63" fmla="*/ 563287 w 667724"/>
              <a:gd name="connsiteY63" fmla="*/ 418360 h 667797"/>
              <a:gd name="connsiteX64" fmla="*/ 562241 w 667724"/>
              <a:gd name="connsiteY64" fmla="*/ 421167 h 667797"/>
              <a:gd name="connsiteX65" fmla="*/ 560017 w 667724"/>
              <a:gd name="connsiteY65" fmla="*/ 426747 h 667797"/>
              <a:gd name="connsiteX66" fmla="*/ 557707 w 667724"/>
              <a:gd name="connsiteY66" fmla="*/ 432180 h 667797"/>
              <a:gd name="connsiteX67" fmla="*/ 557671 w 667724"/>
              <a:gd name="connsiteY67" fmla="*/ 432265 h 667797"/>
              <a:gd name="connsiteX68" fmla="*/ 556455 w 667724"/>
              <a:gd name="connsiteY68" fmla="*/ 434976 h 667797"/>
              <a:gd name="connsiteX69" fmla="*/ 555204 w 667724"/>
              <a:gd name="connsiteY69" fmla="*/ 437686 h 667797"/>
              <a:gd name="connsiteX70" fmla="*/ 553988 w 667724"/>
              <a:gd name="connsiteY70" fmla="*/ 440215 h 667797"/>
              <a:gd name="connsiteX71" fmla="*/ 553879 w 667724"/>
              <a:gd name="connsiteY71" fmla="*/ 440458 h 667797"/>
              <a:gd name="connsiteX72" fmla="*/ 552602 w 667724"/>
              <a:gd name="connsiteY72" fmla="*/ 443047 h 667797"/>
              <a:gd name="connsiteX73" fmla="*/ 549867 w 667724"/>
              <a:gd name="connsiteY73" fmla="*/ 448347 h 667797"/>
              <a:gd name="connsiteX74" fmla="*/ 548567 w 667724"/>
              <a:gd name="connsiteY74" fmla="*/ 450778 h 667797"/>
              <a:gd name="connsiteX75" fmla="*/ 545540 w 667724"/>
              <a:gd name="connsiteY75" fmla="*/ 456138 h 667797"/>
              <a:gd name="connsiteX76" fmla="*/ 544179 w 667724"/>
              <a:gd name="connsiteY76" fmla="*/ 458484 h 667797"/>
              <a:gd name="connsiteX77" fmla="*/ 537749 w 667724"/>
              <a:gd name="connsiteY77" fmla="*/ 468731 h 667797"/>
              <a:gd name="connsiteX78" fmla="*/ 536083 w 667724"/>
              <a:gd name="connsiteY78" fmla="*/ 471186 h 667797"/>
              <a:gd name="connsiteX79" fmla="*/ 534406 w 667724"/>
              <a:gd name="connsiteY79" fmla="*/ 473630 h 667797"/>
              <a:gd name="connsiteX80" fmla="*/ 532692 w 667724"/>
              <a:gd name="connsiteY80" fmla="*/ 476036 h 667797"/>
              <a:gd name="connsiteX81" fmla="*/ 530954 w 667724"/>
              <a:gd name="connsiteY81" fmla="*/ 478419 h 667797"/>
              <a:gd name="connsiteX82" fmla="*/ 529191 w 667724"/>
              <a:gd name="connsiteY82" fmla="*/ 480789 h 667797"/>
              <a:gd name="connsiteX83" fmla="*/ 527392 w 667724"/>
              <a:gd name="connsiteY83" fmla="*/ 483135 h 667797"/>
              <a:gd name="connsiteX84" fmla="*/ 525593 w 667724"/>
              <a:gd name="connsiteY84" fmla="*/ 485444 h 667797"/>
              <a:gd name="connsiteX85" fmla="*/ 525569 w 667724"/>
              <a:gd name="connsiteY85" fmla="*/ 485469 h 667797"/>
              <a:gd name="connsiteX86" fmla="*/ 523734 w 667724"/>
              <a:gd name="connsiteY86" fmla="*/ 487766 h 667797"/>
              <a:gd name="connsiteX87" fmla="*/ 520051 w 667724"/>
              <a:gd name="connsiteY87" fmla="*/ 492191 h 667797"/>
              <a:gd name="connsiteX88" fmla="*/ 519795 w 667724"/>
              <a:gd name="connsiteY88" fmla="*/ 492495 h 667797"/>
              <a:gd name="connsiteX89" fmla="*/ 518045 w 667724"/>
              <a:gd name="connsiteY89" fmla="*/ 494524 h 667797"/>
              <a:gd name="connsiteX90" fmla="*/ 516015 w 667724"/>
              <a:gd name="connsiteY90" fmla="*/ 496822 h 667797"/>
              <a:gd name="connsiteX91" fmla="*/ 514094 w 667724"/>
              <a:gd name="connsiteY91" fmla="*/ 498912 h 667797"/>
              <a:gd name="connsiteX92" fmla="*/ 510059 w 667724"/>
              <a:gd name="connsiteY92" fmla="*/ 503215 h 667797"/>
              <a:gd name="connsiteX93" fmla="*/ 508005 w 667724"/>
              <a:gd name="connsiteY93" fmla="*/ 505318 h 667797"/>
              <a:gd name="connsiteX94" fmla="*/ 505926 w 667724"/>
              <a:gd name="connsiteY94" fmla="*/ 507409 h 667797"/>
              <a:gd name="connsiteX95" fmla="*/ 503714 w 667724"/>
              <a:gd name="connsiteY95" fmla="*/ 509560 h 667797"/>
              <a:gd name="connsiteX96" fmla="*/ 501477 w 667724"/>
              <a:gd name="connsiteY96" fmla="*/ 511688 h 667797"/>
              <a:gd name="connsiteX97" fmla="*/ 494609 w 667724"/>
              <a:gd name="connsiteY97" fmla="*/ 517911 h 667797"/>
              <a:gd name="connsiteX98" fmla="*/ 492276 w 667724"/>
              <a:gd name="connsiteY98" fmla="*/ 519929 h 667797"/>
              <a:gd name="connsiteX99" fmla="*/ 487888 w 667724"/>
              <a:gd name="connsiteY99" fmla="*/ 523576 h 667797"/>
              <a:gd name="connsiteX100" fmla="*/ 479987 w 667724"/>
              <a:gd name="connsiteY100" fmla="*/ 529726 h 667797"/>
              <a:gd name="connsiteX101" fmla="*/ 477714 w 667724"/>
              <a:gd name="connsiteY101" fmla="*/ 531416 h 667797"/>
              <a:gd name="connsiteX102" fmla="*/ 472657 w 667724"/>
              <a:gd name="connsiteY102" fmla="*/ 535001 h 667797"/>
              <a:gd name="connsiteX103" fmla="*/ 470092 w 667724"/>
              <a:gd name="connsiteY103" fmla="*/ 536752 h 667797"/>
              <a:gd name="connsiteX104" fmla="*/ 464914 w 667724"/>
              <a:gd name="connsiteY104" fmla="*/ 540143 h 667797"/>
              <a:gd name="connsiteX105" fmla="*/ 462289 w 667724"/>
              <a:gd name="connsiteY105" fmla="*/ 541784 h 667797"/>
              <a:gd name="connsiteX106" fmla="*/ 455372 w 667724"/>
              <a:gd name="connsiteY106" fmla="*/ 545905 h 667797"/>
              <a:gd name="connsiteX107" fmla="*/ 453112 w 667724"/>
              <a:gd name="connsiteY107" fmla="*/ 547193 h 667797"/>
              <a:gd name="connsiteX108" fmla="*/ 451556 w 667724"/>
              <a:gd name="connsiteY108" fmla="*/ 548056 h 667797"/>
              <a:gd name="connsiteX109" fmla="*/ 448809 w 667724"/>
              <a:gd name="connsiteY109" fmla="*/ 549539 h 667797"/>
              <a:gd name="connsiteX110" fmla="*/ 446049 w 667724"/>
              <a:gd name="connsiteY110" fmla="*/ 550986 h 667797"/>
              <a:gd name="connsiteX111" fmla="*/ 443278 w 667724"/>
              <a:gd name="connsiteY111" fmla="*/ 552408 h 667797"/>
              <a:gd name="connsiteX112" fmla="*/ 428570 w 667724"/>
              <a:gd name="connsiteY112" fmla="*/ 559178 h 667797"/>
              <a:gd name="connsiteX113" fmla="*/ 426200 w 667724"/>
              <a:gd name="connsiteY113" fmla="*/ 560163 h 667797"/>
              <a:gd name="connsiteX114" fmla="*/ 423258 w 667724"/>
              <a:gd name="connsiteY114" fmla="*/ 561354 h 667797"/>
              <a:gd name="connsiteX115" fmla="*/ 345465 w 667724"/>
              <a:gd name="connsiteY115" fmla="*/ 577958 h 667797"/>
              <a:gd name="connsiteX116" fmla="*/ 345355 w 667724"/>
              <a:gd name="connsiteY116" fmla="*/ 577958 h 667797"/>
              <a:gd name="connsiteX117" fmla="*/ 342596 w 667724"/>
              <a:gd name="connsiteY117" fmla="*/ 578068 h 667797"/>
              <a:gd name="connsiteX118" fmla="*/ 339703 w 667724"/>
              <a:gd name="connsiteY118" fmla="*/ 578153 h 667797"/>
              <a:gd name="connsiteX119" fmla="*/ 336798 w 667724"/>
              <a:gd name="connsiteY119" fmla="*/ 578213 h 667797"/>
              <a:gd name="connsiteX120" fmla="*/ 333893 w 667724"/>
              <a:gd name="connsiteY120" fmla="*/ 578226 h 667797"/>
              <a:gd name="connsiteX121" fmla="*/ 331365 w 667724"/>
              <a:gd name="connsiteY121" fmla="*/ 578213 h 667797"/>
              <a:gd name="connsiteX122" fmla="*/ 329723 w 667724"/>
              <a:gd name="connsiteY122" fmla="*/ 578189 h 667797"/>
              <a:gd name="connsiteX123" fmla="*/ 327912 w 667724"/>
              <a:gd name="connsiteY123" fmla="*/ 578153 h 667797"/>
              <a:gd name="connsiteX124" fmla="*/ 324934 w 667724"/>
              <a:gd name="connsiteY124" fmla="*/ 578068 h 667797"/>
              <a:gd name="connsiteX125" fmla="*/ 323318 w 667724"/>
              <a:gd name="connsiteY125" fmla="*/ 578007 h 667797"/>
              <a:gd name="connsiteX126" fmla="*/ 321349 w 667724"/>
              <a:gd name="connsiteY126" fmla="*/ 577922 h 667797"/>
              <a:gd name="connsiteX127" fmla="*/ 318857 w 667724"/>
              <a:gd name="connsiteY127" fmla="*/ 577776 h 667797"/>
              <a:gd name="connsiteX128" fmla="*/ 314529 w 667724"/>
              <a:gd name="connsiteY128" fmla="*/ 577484 h 667797"/>
              <a:gd name="connsiteX129" fmla="*/ 308962 w 667724"/>
              <a:gd name="connsiteY129" fmla="*/ 576974 h 667797"/>
              <a:gd name="connsiteX130" fmla="*/ 306495 w 667724"/>
              <a:gd name="connsiteY130" fmla="*/ 576718 h 667797"/>
              <a:gd name="connsiteX131" fmla="*/ 301608 w 667724"/>
              <a:gd name="connsiteY131" fmla="*/ 576123 h 667797"/>
              <a:gd name="connsiteX132" fmla="*/ 296758 w 667724"/>
              <a:gd name="connsiteY132" fmla="*/ 575430 h 667797"/>
              <a:gd name="connsiteX133" fmla="*/ 294327 w 667724"/>
              <a:gd name="connsiteY133" fmla="*/ 575053 h 667797"/>
              <a:gd name="connsiteX134" fmla="*/ 287132 w 667724"/>
              <a:gd name="connsiteY134" fmla="*/ 573777 h 667797"/>
              <a:gd name="connsiteX135" fmla="*/ 280385 w 667724"/>
              <a:gd name="connsiteY135" fmla="*/ 572355 h 667797"/>
              <a:gd name="connsiteX136" fmla="*/ 267574 w 667724"/>
              <a:gd name="connsiteY136" fmla="*/ 569121 h 667797"/>
              <a:gd name="connsiteX137" fmla="*/ 264827 w 667724"/>
              <a:gd name="connsiteY137" fmla="*/ 568331 h 667797"/>
              <a:gd name="connsiteX138" fmla="*/ 262092 w 667724"/>
              <a:gd name="connsiteY138" fmla="*/ 567517 h 667797"/>
              <a:gd name="connsiteX139" fmla="*/ 253279 w 667724"/>
              <a:gd name="connsiteY139" fmla="*/ 564624 h 667797"/>
              <a:gd name="connsiteX140" fmla="*/ 251298 w 667724"/>
              <a:gd name="connsiteY140" fmla="*/ 563919 h 667797"/>
              <a:gd name="connsiteX141" fmla="*/ 248636 w 667724"/>
              <a:gd name="connsiteY141" fmla="*/ 562946 h 667797"/>
              <a:gd name="connsiteX142" fmla="*/ 246885 w 667724"/>
              <a:gd name="connsiteY142" fmla="*/ 562278 h 667797"/>
              <a:gd name="connsiteX143" fmla="*/ 243360 w 667724"/>
              <a:gd name="connsiteY143" fmla="*/ 560916 h 667797"/>
              <a:gd name="connsiteX144" fmla="*/ 238960 w 667724"/>
              <a:gd name="connsiteY144" fmla="*/ 559105 h 667797"/>
              <a:gd name="connsiteX145" fmla="*/ 234609 w 667724"/>
              <a:gd name="connsiteY145" fmla="*/ 557221 h 667797"/>
              <a:gd name="connsiteX146" fmla="*/ 230294 w 667724"/>
              <a:gd name="connsiteY146" fmla="*/ 555252 h 667797"/>
              <a:gd name="connsiteX147" fmla="*/ 226489 w 667724"/>
              <a:gd name="connsiteY147" fmla="*/ 553417 h 667797"/>
              <a:gd name="connsiteX148" fmla="*/ 225760 w 667724"/>
              <a:gd name="connsiteY148" fmla="*/ 553064 h 667797"/>
              <a:gd name="connsiteX149" fmla="*/ 221797 w 667724"/>
              <a:gd name="connsiteY149" fmla="*/ 551071 h 667797"/>
              <a:gd name="connsiteX150" fmla="*/ 217628 w 667724"/>
              <a:gd name="connsiteY150" fmla="*/ 548858 h 667797"/>
              <a:gd name="connsiteX151" fmla="*/ 213507 w 667724"/>
              <a:gd name="connsiteY151" fmla="*/ 546573 h 667797"/>
              <a:gd name="connsiteX152" fmla="*/ 209435 w 667724"/>
              <a:gd name="connsiteY152" fmla="*/ 544215 h 667797"/>
              <a:gd name="connsiteX153" fmla="*/ 205400 w 667724"/>
              <a:gd name="connsiteY153" fmla="*/ 541760 h 667797"/>
              <a:gd name="connsiteX154" fmla="*/ 201425 w 667724"/>
              <a:gd name="connsiteY154" fmla="*/ 539244 h 667797"/>
              <a:gd name="connsiteX155" fmla="*/ 197511 w 667724"/>
              <a:gd name="connsiteY155" fmla="*/ 536667 h 667797"/>
              <a:gd name="connsiteX156" fmla="*/ 189829 w 667724"/>
              <a:gd name="connsiteY156" fmla="*/ 531282 h 667797"/>
              <a:gd name="connsiteX157" fmla="*/ 182645 w 667724"/>
              <a:gd name="connsiteY157" fmla="*/ 525824 h 667797"/>
              <a:gd name="connsiteX158" fmla="*/ 179776 w 667724"/>
              <a:gd name="connsiteY158" fmla="*/ 523515 h 667797"/>
              <a:gd name="connsiteX159" fmla="*/ 177916 w 667724"/>
              <a:gd name="connsiteY159" fmla="*/ 521983 h 667797"/>
              <a:gd name="connsiteX160" fmla="*/ 176981 w 667724"/>
              <a:gd name="connsiteY160" fmla="*/ 521205 h 667797"/>
              <a:gd name="connsiteX161" fmla="*/ 174829 w 667724"/>
              <a:gd name="connsiteY161" fmla="*/ 519382 h 667797"/>
              <a:gd name="connsiteX162" fmla="*/ 170538 w 667724"/>
              <a:gd name="connsiteY162" fmla="*/ 515614 h 667797"/>
              <a:gd name="connsiteX163" fmla="*/ 168411 w 667724"/>
              <a:gd name="connsiteY163" fmla="*/ 513657 h 667797"/>
              <a:gd name="connsiteX164" fmla="*/ 165944 w 667724"/>
              <a:gd name="connsiteY164" fmla="*/ 511372 h 667797"/>
              <a:gd name="connsiteX165" fmla="*/ 162394 w 667724"/>
              <a:gd name="connsiteY165" fmla="*/ 507956 h 667797"/>
              <a:gd name="connsiteX166" fmla="*/ 160304 w 667724"/>
              <a:gd name="connsiteY166" fmla="*/ 505865 h 667797"/>
              <a:gd name="connsiteX167" fmla="*/ 158432 w 667724"/>
              <a:gd name="connsiteY167" fmla="*/ 503945 h 667797"/>
              <a:gd name="connsiteX168" fmla="*/ 155441 w 667724"/>
              <a:gd name="connsiteY168" fmla="*/ 500809 h 667797"/>
              <a:gd name="connsiteX169" fmla="*/ 153156 w 667724"/>
              <a:gd name="connsiteY169" fmla="*/ 498341 h 667797"/>
              <a:gd name="connsiteX170" fmla="*/ 151138 w 667724"/>
              <a:gd name="connsiteY170" fmla="*/ 496092 h 667797"/>
              <a:gd name="connsiteX171" fmla="*/ 148258 w 667724"/>
              <a:gd name="connsiteY171" fmla="*/ 492786 h 667797"/>
              <a:gd name="connsiteX172" fmla="*/ 146337 w 667724"/>
              <a:gd name="connsiteY172" fmla="*/ 490525 h 667797"/>
              <a:gd name="connsiteX173" fmla="*/ 142581 w 667724"/>
              <a:gd name="connsiteY173" fmla="*/ 485918 h 667797"/>
              <a:gd name="connsiteX174" fmla="*/ 141135 w 667724"/>
              <a:gd name="connsiteY174" fmla="*/ 484107 h 667797"/>
              <a:gd name="connsiteX175" fmla="*/ 139956 w 667724"/>
              <a:gd name="connsiteY175" fmla="*/ 482564 h 667797"/>
              <a:gd name="connsiteX176" fmla="*/ 137950 w 667724"/>
              <a:gd name="connsiteY176" fmla="*/ 479938 h 667797"/>
              <a:gd name="connsiteX177" fmla="*/ 134632 w 667724"/>
              <a:gd name="connsiteY177" fmla="*/ 475380 h 667797"/>
              <a:gd name="connsiteX178" fmla="*/ 132310 w 667724"/>
              <a:gd name="connsiteY178" fmla="*/ 472062 h 667797"/>
              <a:gd name="connsiteX179" fmla="*/ 131872 w 667724"/>
              <a:gd name="connsiteY179" fmla="*/ 471429 h 667797"/>
              <a:gd name="connsiteX180" fmla="*/ 130329 w 667724"/>
              <a:gd name="connsiteY180" fmla="*/ 469144 h 667797"/>
              <a:gd name="connsiteX181" fmla="*/ 127776 w 667724"/>
              <a:gd name="connsiteY181" fmla="*/ 465230 h 667797"/>
              <a:gd name="connsiteX182" fmla="*/ 125065 w 667724"/>
              <a:gd name="connsiteY182" fmla="*/ 460891 h 667797"/>
              <a:gd name="connsiteX183" fmla="*/ 123145 w 667724"/>
              <a:gd name="connsiteY183" fmla="*/ 457694 h 667797"/>
              <a:gd name="connsiteX184" fmla="*/ 121893 w 667724"/>
              <a:gd name="connsiteY184" fmla="*/ 455543 h 667797"/>
              <a:gd name="connsiteX185" fmla="*/ 119510 w 667724"/>
              <a:gd name="connsiteY185" fmla="*/ 451313 h 667797"/>
              <a:gd name="connsiteX186" fmla="*/ 117930 w 667724"/>
              <a:gd name="connsiteY186" fmla="*/ 448359 h 667797"/>
              <a:gd name="connsiteX187" fmla="*/ 116703 w 667724"/>
              <a:gd name="connsiteY187" fmla="*/ 446025 h 667797"/>
              <a:gd name="connsiteX188" fmla="*/ 115341 w 667724"/>
              <a:gd name="connsiteY188" fmla="*/ 443375 h 667797"/>
              <a:gd name="connsiteX189" fmla="*/ 114016 w 667724"/>
              <a:gd name="connsiteY189" fmla="*/ 440677 h 667797"/>
              <a:gd name="connsiteX190" fmla="*/ 111464 w 667724"/>
              <a:gd name="connsiteY190" fmla="*/ 435255 h 667797"/>
              <a:gd name="connsiteX191" fmla="*/ 109020 w 667724"/>
              <a:gd name="connsiteY191" fmla="*/ 429761 h 667797"/>
              <a:gd name="connsiteX192" fmla="*/ 107927 w 667724"/>
              <a:gd name="connsiteY192" fmla="*/ 427136 h 667797"/>
              <a:gd name="connsiteX193" fmla="*/ 107793 w 667724"/>
              <a:gd name="connsiteY193" fmla="*/ 426832 h 667797"/>
              <a:gd name="connsiteX194" fmla="*/ 106699 w 667724"/>
              <a:gd name="connsiteY194" fmla="*/ 424109 h 667797"/>
              <a:gd name="connsiteX195" fmla="*/ 105532 w 667724"/>
              <a:gd name="connsiteY195" fmla="*/ 421143 h 667797"/>
              <a:gd name="connsiteX196" fmla="*/ 104450 w 667724"/>
              <a:gd name="connsiteY196" fmla="*/ 418238 h 667797"/>
              <a:gd name="connsiteX197" fmla="*/ 103393 w 667724"/>
              <a:gd name="connsiteY197" fmla="*/ 415321 h 667797"/>
              <a:gd name="connsiteX198" fmla="*/ 102372 w 667724"/>
              <a:gd name="connsiteY198" fmla="*/ 412379 h 667797"/>
              <a:gd name="connsiteX199" fmla="*/ 101387 w 667724"/>
              <a:gd name="connsiteY199" fmla="*/ 409413 h 667797"/>
              <a:gd name="connsiteX200" fmla="*/ 100427 w 667724"/>
              <a:gd name="connsiteY200" fmla="*/ 406435 h 667797"/>
              <a:gd name="connsiteX201" fmla="*/ 99138 w 667724"/>
              <a:gd name="connsiteY201" fmla="*/ 402120 h 667797"/>
              <a:gd name="connsiteX202" fmla="*/ 97923 w 667724"/>
              <a:gd name="connsiteY202" fmla="*/ 397769 h 667797"/>
              <a:gd name="connsiteX203" fmla="*/ 96768 w 667724"/>
              <a:gd name="connsiteY203" fmla="*/ 393393 h 667797"/>
              <a:gd name="connsiteX204" fmla="*/ 95577 w 667724"/>
              <a:gd name="connsiteY204" fmla="*/ 388409 h 667797"/>
              <a:gd name="connsiteX205" fmla="*/ 94811 w 667724"/>
              <a:gd name="connsiteY205" fmla="*/ 384933 h 667797"/>
              <a:gd name="connsiteX206" fmla="*/ 94653 w 667724"/>
              <a:gd name="connsiteY206" fmla="*/ 384179 h 667797"/>
              <a:gd name="connsiteX207" fmla="*/ 93826 w 667724"/>
              <a:gd name="connsiteY207" fmla="*/ 380046 h 667797"/>
              <a:gd name="connsiteX208" fmla="*/ 93012 w 667724"/>
              <a:gd name="connsiteY208" fmla="*/ 375537 h 667797"/>
              <a:gd name="connsiteX209" fmla="*/ 92161 w 667724"/>
              <a:gd name="connsiteY209" fmla="*/ 370237 h 667797"/>
              <a:gd name="connsiteX210" fmla="*/ 91675 w 667724"/>
              <a:gd name="connsiteY210" fmla="*/ 366846 h 667797"/>
              <a:gd name="connsiteX211" fmla="*/ 91237 w 667724"/>
              <a:gd name="connsiteY211" fmla="*/ 363394 h 667797"/>
              <a:gd name="connsiteX212" fmla="*/ 90946 w 667724"/>
              <a:gd name="connsiteY212" fmla="*/ 360817 h 667797"/>
              <a:gd name="connsiteX213" fmla="*/ 90581 w 667724"/>
              <a:gd name="connsiteY213" fmla="*/ 357255 h 667797"/>
              <a:gd name="connsiteX214" fmla="*/ 89949 w 667724"/>
              <a:gd name="connsiteY214" fmla="*/ 349123 h 667797"/>
              <a:gd name="connsiteX215" fmla="*/ 89937 w 667724"/>
              <a:gd name="connsiteY215" fmla="*/ 348868 h 667797"/>
              <a:gd name="connsiteX216" fmla="*/ 89779 w 667724"/>
              <a:gd name="connsiteY216" fmla="*/ 346109 h 667797"/>
              <a:gd name="connsiteX217" fmla="*/ 89706 w 667724"/>
              <a:gd name="connsiteY217" fmla="*/ 344371 h 667797"/>
              <a:gd name="connsiteX218" fmla="*/ 89645 w 667724"/>
              <a:gd name="connsiteY218" fmla="*/ 342742 h 667797"/>
              <a:gd name="connsiteX219" fmla="*/ 89536 w 667724"/>
              <a:gd name="connsiteY219" fmla="*/ 338560 h 667797"/>
              <a:gd name="connsiteX220" fmla="*/ 89487 w 667724"/>
              <a:gd name="connsiteY220" fmla="*/ 333832 h 667797"/>
              <a:gd name="connsiteX221" fmla="*/ 89499 w 667724"/>
              <a:gd name="connsiteY221" fmla="*/ 331024 h 667797"/>
              <a:gd name="connsiteX222" fmla="*/ 89548 w 667724"/>
              <a:gd name="connsiteY222" fmla="*/ 328228 h 667797"/>
              <a:gd name="connsiteX223" fmla="*/ 89767 w 667724"/>
              <a:gd name="connsiteY223" fmla="*/ 322345 h 667797"/>
              <a:gd name="connsiteX224" fmla="*/ 89925 w 667724"/>
              <a:gd name="connsiteY224" fmla="*/ 319404 h 667797"/>
              <a:gd name="connsiteX225" fmla="*/ 90338 w 667724"/>
              <a:gd name="connsiteY225" fmla="*/ 313569 h 667797"/>
              <a:gd name="connsiteX226" fmla="*/ 90678 w 667724"/>
              <a:gd name="connsiteY226" fmla="*/ 309801 h 667797"/>
              <a:gd name="connsiteX227" fmla="*/ 91201 w 667724"/>
              <a:gd name="connsiteY227" fmla="*/ 304890 h 667797"/>
              <a:gd name="connsiteX228" fmla="*/ 91517 w 667724"/>
              <a:gd name="connsiteY228" fmla="*/ 302301 h 667797"/>
              <a:gd name="connsiteX229" fmla="*/ 92246 w 667724"/>
              <a:gd name="connsiteY229" fmla="*/ 297135 h 667797"/>
              <a:gd name="connsiteX230" fmla="*/ 93073 w 667724"/>
              <a:gd name="connsiteY230" fmla="*/ 291994 h 667797"/>
              <a:gd name="connsiteX231" fmla="*/ 94009 w 667724"/>
              <a:gd name="connsiteY231" fmla="*/ 286901 h 667797"/>
              <a:gd name="connsiteX232" fmla="*/ 96197 w 667724"/>
              <a:gd name="connsiteY232" fmla="*/ 276812 h 667797"/>
              <a:gd name="connsiteX233" fmla="*/ 96804 w 667724"/>
              <a:gd name="connsiteY233" fmla="*/ 274308 h 667797"/>
              <a:gd name="connsiteX234" fmla="*/ 97437 w 667724"/>
              <a:gd name="connsiteY234" fmla="*/ 271828 h 667797"/>
              <a:gd name="connsiteX235" fmla="*/ 98105 w 667724"/>
              <a:gd name="connsiteY235" fmla="*/ 269348 h 667797"/>
              <a:gd name="connsiteX236" fmla="*/ 98786 w 667724"/>
              <a:gd name="connsiteY236" fmla="*/ 266869 h 667797"/>
              <a:gd name="connsiteX237" fmla="*/ 99503 w 667724"/>
              <a:gd name="connsiteY237" fmla="*/ 264413 h 667797"/>
              <a:gd name="connsiteX238" fmla="*/ 100998 w 667724"/>
              <a:gd name="connsiteY238" fmla="*/ 259539 h 667797"/>
              <a:gd name="connsiteX239" fmla="*/ 102603 w 667724"/>
              <a:gd name="connsiteY239" fmla="*/ 254701 h 667797"/>
              <a:gd name="connsiteX240" fmla="*/ 104292 w 667724"/>
              <a:gd name="connsiteY240" fmla="*/ 249912 h 667797"/>
              <a:gd name="connsiteX241" fmla="*/ 107720 w 667724"/>
              <a:gd name="connsiteY241" fmla="*/ 241063 h 667797"/>
              <a:gd name="connsiteX242" fmla="*/ 107999 w 667724"/>
              <a:gd name="connsiteY242" fmla="*/ 240370 h 667797"/>
              <a:gd name="connsiteX243" fmla="*/ 109944 w 667724"/>
              <a:gd name="connsiteY243" fmla="*/ 235824 h 667797"/>
              <a:gd name="connsiteX244" fmla="*/ 114174 w 667724"/>
              <a:gd name="connsiteY244" fmla="*/ 226683 h 667797"/>
              <a:gd name="connsiteX245" fmla="*/ 115682 w 667724"/>
              <a:gd name="connsiteY245" fmla="*/ 223681 h 667797"/>
              <a:gd name="connsiteX246" fmla="*/ 117213 w 667724"/>
              <a:gd name="connsiteY246" fmla="*/ 220691 h 667797"/>
              <a:gd name="connsiteX247" fmla="*/ 118781 w 667724"/>
              <a:gd name="connsiteY247" fmla="*/ 217737 h 667797"/>
              <a:gd name="connsiteX248" fmla="*/ 120276 w 667724"/>
              <a:gd name="connsiteY248" fmla="*/ 215002 h 667797"/>
              <a:gd name="connsiteX249" fmla="*/ 122039 w 667724"/>
              <a:gd name="connsiteY249" fmla="*/ 211903 h 667797"/>
              <a:gd name="connsiteX250" fmla="*/ 123984 w 667724"/>
              <a:gd name="connsiteY250" fmla="*/ 208596 h 667797"/>
              <a:gd name="connsiteX251" fmla="*/ 125454 w 667724"/>
              <a:gd name="connsiteY251" fmla="*/ 206165 h 667797"/>
              <a:gd name="connsiteX252" fmla="*/ 127217 w 667724"/>
              <a:gd name="connsiteY252" fmla="*/ 203333 h 667797"/>
              <a:gd name="connsiteX253" fmla="*/ 131471 w 667724"/>
              <a:gd name="connsiteY253" fmla="*/ 196842 h 667797"/>
              <a:gd name="connsiteX254" fmla="*/ 133526 w 667724"/>
              <a:gd name="connsiteY254" fmla="*/ 193864 h 667797"/>
              <a:gd name="connsiteX255" fmla="*/ 135726 w 667724"/>
              <a:gd name="connsiteY255" fmla="*/ 190777 h 667797"/>
              <a:gd name="connsiteX256" fmla="*/ 137974 w 667724"/>
              <a:gd name="connsiteY256" fmla="*/ 187726 h 667797"/>
              <a:gd name="connsiteX257" fmla="*/ 139640 w 667724"/>
              <a:gd name="connsiteY257" fmla="*/ 185526 h 667797"/>
              <a:gd name="connsiteX258" fmla="*/ 142605 w 667724"/>
              <a:gd name="connsiteY258" fmla="*/ 181721 h 667797"/>
              <a:gd name="connsiteX259" fmla="*/ 144988 w 667724"/>
              <a:gd name="connsiteY259" fmla="*/ 178767 h 667797"/>
              <a:gd name="connsiteX260" fmla="*/ 152378 w 667724"/>
              <a:gd name="connsiteY260" fmla="*/ 170174 h 667797"/>
              <a:gd name="connsiteX261" fmla="*/ 154943 w 667724"/>
              <a:gd name="connsiteY261" fmla="*/ 167378 h 667797"/>
              <a:gd name="connsiteX262" fmla="*/ 157532 w 667724"/>
              <a:gd name="connsiteY262" fmla="*/ 164631 h 667797"/>
              <a:gd name="connsiteX263" fmla="*/ 160158 w 667724"/>
              <a:gd name="connsiteY263" fmla="*/ 161920 h 667797"/>
              <a:gd name="connsiteX264" fmla="*/ 164923 w 667724"/>
              <a:gd name="connsiteY264" fmla="*/ 157240 h 667797"/>
              <a:gd name="connsiteX265" fmla="*/ 166418 w 667724"/>
              <a:gd name="connsiteY265" fmla="*/ 155830 h 667797"/>
              <a:gd name="connsiteX266" fmla="*/ 168338 w 667724"/>
              <a:gd name="connsiteY266" fmla="*/ 154044 h 667797"/>
              <a:gd name="connsiteX267" fmla="*/ 170866 w 667724"/>
              <a:gd name="connsiteY267" fmla="*/ 151746 h 667797"/>
              <a:gd name="connsiteX268" fmla="*/ 176847 w 667724"/>
              <a:gd name="connsiteY268" fmla="*/ 146556 h 667797"/>
              <a:gd name="connsiteX269" fmla="*/ 179752 w 667724"/>
              <a:gd name="connsiteY269" fmla="*/ 144149 h 667797"/>
              <a:gd name="connsiteX270" fmla="*/ 183180 w 667724"/>
              <a:gd name="connsiteY270" fmla="*/ 141390 h 667797"/>
              <a:gd name="connsiteX271" fmla="*/ 185258 w 667724"/>
              <a:gd name="connsiteY271" fmla="*/ 139785 h 667797"/>
              <a:gd name="connsiteX272" fmla="*/ 201364 w 667724"/>
              <a:gd name="connsiteY272" fmla="*/ 128408 h 667797"/>
              <a:gd name="connsiteX273" fmla="*/ 204378 w 667724"/>
              <a:gd name="connsiteY273" fmla="*/ 126512 h 667797"/>
              <a:gd name="connsiteX274" fmla="*/ 206858 w 667724"/>
              <a:gd name="connsiteY274" fmla="*/ 124980 h 667797"/>
              <a:gd name="connsiteX275" fmla="*/ 208657 w 667724"/>
              <a:gd name="connsiteY275" fmla="*/ 123886 h 667797"/>
              <a:gd name="connsiteX276" fmla="*/ 214188 w 667724"/>
              <a:gd name="connsiteY276" fmla="*/ 120677 h 667797"/>
              <a:gd name="connsiteX277" fmla="*/ 217518 w 667724"/>
              <a:gd name="connsiteY277" fmla="*/ 118842 h 667797"/>
              <a:gd name="connsiteX278" fmla="*/ 220885 w 667724"/>
              <a:gd name="connsiteY278" fmla="*/ 117043 h 667797"/>
              <a:gd name="connsiteX279" fmla="*/ 226987 w 667724"/>
              <a:gd name="connsiteY279" fmla="*/ 113968 h 667797"/>
              <a:gd name="connsiteX280" fmla="*/ 231533 w 667724"/>
              <a:gd name="connsiteY280" fmla="*/ 111816 h 667797"/>
              <a:gd name="connsiteX281" fmla="*/ 234645 w 667724"/>
              <a:gd name="connsiteY281" fmla="*/ 110394 h 667797"/>
              <a:gd name="connsiteX282" fmla="*/ 238158 w 667724"/>
              <a:gd name="connsiteY282" fmla="*/ 108862 h 667797"/>
              <a:gd name="connsiteX283" fmla="*/ 242376 w 667724"/>
              <a:gd name="connsiteY283" fmla="*/ 107112 h 667797"/>
              <a:gd name="connsiteX284" fmla="*/ 245281 w 667724"/>
              <a:gd name="connsiteY284" fmla="*/ 105957 h 667797"/>
              <a:gd name="connsiteX285" fmla="*/ 252489 w 667724"/>
              <a:gd name="connsiteY285" fmla="*/ 103271 h 667797"/>
              <a:gd name="connsiteX286" fmla="*/ 255139 w 667724"/>
              <a:gd name="connsiteY286" fmla="*/ 102347 h 667797"/>
              <a:gd name="connsiteX287" fmla="*/ 257716 w 667724"/>
              <a:gd name="connsiteY287" fmla="*/ 101496 h 667797"/>
              <a:gd name="connsiteX288" fmla="*/ 259855 w 667724"/>
              <a:gd name="connsiteY288" fmla="*/ 100791 h 667797"/>
              <a:gd name="connsiteX289" fmla="*/ 262651 w 667724"/>
              <a:gd name="connsiteY289" fmla="*/ 99928 h 667797"/>
              <a:gd name="connsiteX290" fmla="*/ 267841 w 667724"/>
              <a:gd name="connsiteY290" fmla="*/ 98409 h 667797"/>
              <a:gd name="connsiteX291" fmla="*/ 270916 w 667724"/>
              <a:gd name="connsiteY291" fmla="*/ 97582 h 667797"/>
              <a:gd name="connsiteX292" fmla="*/ 271087 w 667724"/>
              <a:gd name="connsiteY292" fmla="*/ 97534 h 667797"/>
              <a:gd name="connsiteX293" fmla="*/ 274757 w 667724"/>
              <a:gd name="connsiteY293" fmla="*/ 96586 h 667797"/>
              <a:gd name="connsiteX294" fmla="*/ 277371 w 667724"/>
              <a:gd name="connsiteY294" fmla="*/ 95954 h 667797"/>
              <a:gd name="connsiteX295" fmla="*/ 278319 w 667724"/>
              <a:gd name="connsiteY295" fmla="*/ 95735 h 667797"/>
              <a:gd name="connsiteX296" fmla="*/ 281115 w 667724"/>
              <a:gd name="connsiteY296" fmla="*/ 95103 h 667797"/>
              <a:gd name="connsiteX297" fmla="*/ 281346 w 667724"/>
              <a:gd name="connsiteY297" fmla="*/ 95054 h 667797"/>
              <a:gd name="connsiteX298" fmla="*/ 284105 w 667724"/>
              <a:gd name="connsiteY298" fmla="*/ 94471 h 667797"/>
              <a:gd name="connsiteX299" fmla="*/ 284494 w 667724"/>
              <a:gd name="connsiteY299" fmla="*/ 94398 h 667797"/>
              <a:gd name="connsiteX300" fmla="*/ 287302 w 667724"/>
              <a:gd name="connsiteY300" fmla="*/ 93839 h 667797"/>
              <a:gd name="connsiteX301" fmla="*/ 290097 w 667724"/>
              <a:gd name="connsiteY301" fmla="*/ 93316 h 667797"/>
              <a:gd name="connsiteX302" fmla="*/ 293367 w 667724"/>
              <a:gd name="connsiteY302" fmla="*/ 92745 h 667797"/>
              <a:gd name="connsiteX303" fmla="*/ 294485 w 667724"/>
              <a:gd name="connsiteY303" fmla="*/ 92562 h 667797"/>
              <a:gd name="connsiteX304" fmla="*/ 297755 w 667724"/>
              <a:gd name="connsiteY304" fmla="*/ 92064 h 667797"/>
              <a:gd name="connsiteX305" fmla="*/ 298071 w 667724"/>
              <a:gd name="connsiteY305" fmla="*/ 92015 h 667797"/>
              <a:gd name="connsiteX306" fmla="*/ 301815 w 667724"/>
              <a:gd name="connsiteY306" fmla="*/ 91493 h 667797"/>
              <a:gd name="connsiteX307" fmla="*/ 305644 w 667724"/>
              <a:gd name="connsiteY307" fmla="*/ 91019 h 667797"/>
              <a:gd name="connsiteX308" fmla="*/ 305778 w 667724"/>
              <a:gd name="connsiteY308" fmla="*/ 91006 h 667797"/>
              <a:gd name="connsiteX309" fmla="*/ 309740 w 667724"/>
              <a:gd name="connsiteY309" fmla="*/ 90581 h 667797"/>
              <a:gd name="connsiteX310" fmla="*/ 312597 w 667724"/>
              <a:gd name="connsiteY310" fmla="*/ 90314 h 667797"/>
              <a:gd name="connsiteX311" fmla="*/ 314967 w 667724"/>
              <a:gd name="connsiteY311" fmla="*/ 90119 h 667797"/>
              <a:gd name="connsiteX312" fmla="*/ 326381 w 667724"/>
              <a:gd name="connsiteY312" fmla="*/ 89511 h 667797"/>
              <a:gd name="connsiteX313" fmla="*/ 329578 w 667724"/>
              <a:gd name="connsiteY313" fmla="*/ 89438 h 667797"/>
              <a:gd name="connsiteX314" fmla="*/ 333917 w 667724"/>
              <a:gd name="connsiteY314" fmla="*/ 89402 h 667797"/>
              <a:gd name="connsiteX315" fmla="*/ 345501 w 667724"/>
              <a:gd name="connsiteY315" fmla="*/ 89681 h 667797"/>
              <a:gd name="connsiteX316" fmla="*/ 423295 w 667724"/>
              <a:gd name="connsiteY316" fmla="*/ 106286 h 667797"/>
              <a:gd name="connsiteX317" fmla="*/ 426236 w 667724"/>
              <a:gd name="connsiteY317" fmla="*/ 107477 h 667797"/>
              <a:gd name="connsiteX318" fmla="*/ 428607 w 667724"/>
              <a:gd name="connsiteY318" fmla="*/ 108461 h 667797"/>
              <a:gd name="connsiteX319" fmla="*/ 431986 w 667724"/>
              <a:gd name="connsiteY319" fmla="*/ 109908 h 667797"/>
              <a:gd name="connsiteX320" fmla="*/ 435413 w 667724"/>
              <a:gd name="connsiteY320" fmla="*/ 111452 h 667797"/>
              <a:gd name="connsiteX321" fmla="*/ 443302 w 667724"/>
              <a:gd name="connsiteY321" fmla="*/ 115232 h 667797"/>
              <a:gd name="connsiteX322" fmla="*/ 446074 w 667724"/>
              <a:gd name="connsiteY322" fmla="*/ 116654 h 667797"/>
              <a:gd name="connsiteX323" fmla="*/ 448833 w 667724"/>
              <a:gd name="connsiteY323" fmla="*/ 118100 h 667797"/>
              <a:gd name="connsiteX324" fmla="*/ 452078 w 667724"/>
              <a:gd name="connsiteY324" fmla="*/ 119863 h 667797"/>
              <a:gd name="connsiteX325" fmla="*/ 455555 w 667724"/>
              <a:gd name="connsiteY325" fmla="*/ 121832 h 667797"/>
              <a:gd name="connsiteX326" fmla="*/ 486417 w 667724"/>
              <a:gd name="connsiteY326" fmla="*/ 142873 h 667797"/>
              <a:gd name="connsiteX327" fmla="*/ 488508 w 667724"/>
              <a:gd name="connsiteY327" fmla="*/ 144575 h 667797"/>
              <a:gd name="connsiteX328" fmla="*/ 492312 w 667724"/>
              <a:gd name="connsiteY328" fmla="*/ 147735 h 667797"/>
              <a:gd name="connsiteX329" fmla="*/ 494646 w 667724"/>
              <a:gd name="connsiteY329" fmla="*/ 149753 h 667797"/>
              <a:gd name="connsiteX330" fmla="*/ 496956 w 667724"/>
              <a:gd name="connsiteY330" fmla="*/ 151795 h 667797"/>
              <a:gd name="connsiteX331" fmla="*/ 501538 w 667724"/>
              <a:gd name="connsiteY331" fmla="*/ 156013 h 667797"/>
              <a:gd name="connsiteX332" fmla="*/ 503750 w 667724"/>
              <a:gd name="connsiteY332" fmla="*/ 158116 h 667797"/>
              <a:gd name="connsiteX333" fmla="*/ 505963 w 667724"/>
              <a:gd name="connsiteY333" fmla="*/ 160267 h 667797"/>
              <a:gd name="connsiteX334" fmla="*/ 508041 w 667724"/>
              <a:gd name="connsiteY334" fmla="*/ 162358 h 667797"/>
              <a:gd name="connsiteX335" fmla="*/ 510095 w 667724"/>
              <a:gd name="connsiteY335" fmla="*/ 164461 h 667797"/>
              <a:gd name="connsiteX336" fmla="*/ 515589 w 667724"/>
              <a:gd name="connsiteY336" fmla="*/ 170344 h 667797"/>
              <a:gd name="connsiteX337" fmla="*/ 518081 w 667724"/>
              <a:gd name="connsiteY337" fmla="*/ 173152 h 667797"/>
              <a:gd name="connsiteX338" fmla="*/ 518701 w 667724"/>
              <a:gd name="connsiteY338" fmla="*/ 173881 h 667797"/>
              <a:gd name="connsiteX339" fmla="*/ 520573 w 667724"/>
              <a:gd name="connsiteY339" fmla="*/ 176081 h 667797"/>
              <a:gd name="connsiteX340" fmla="*/ 521886 w 667724"/>
              <a:gd name="connsiteY340" fmla="*/ 177649 h 667797"/>
              <a:gd name="connsiteX341" fmla="*/ 537761 w 667724"/>
              <a:gd name="connsiteY341" fmla="*/ 198969 h 667797"/>
              <a:gd name="connsiteX342" fmla="*/ 539839 w 667724"/>
              <a:gd name="connsiteY342" fmla="*/ 202178 h 667797"/>
              <a:gd name="connsiteX343" fmla="*/ 544215 w 667724"/>
              <a:gd name="connsiteY343" fmla="*/ 209277 h 667797"/>
              <a:gd name="connsiteX344" fmla="*/ 545552 w 667724"/>
              <a:gd name="connsiteY344" fmla="*/ 211574 h 667797"/>
              <a:gd name="connsiteX345" fmla="*/ 548579 w 667724"/>
              <a:gd name="connsiteY345" fmla="*/ 216935 h 667797"/>
              <a:gd name="connsiteX346" fmla="*/ 549880 w 667724"/>
              <a:gd name="connsiteY346" fmla="*/ 219366 h 667797"/>
              <a:gd name="connsiteX347" fmla="*/ 552335 w 667724"/>
              <a:gd name="connsiteY347" fmla="*/ 224106 h 667797"/>
              <a:gd name="connsiteX348" fmla="*/ 554316 w 667724"/>
              <a:gd name="connsiteY348" fmla="*/ 228142 h 667797"/>
              <a:gd name="connsiteX349" fmla="*/ 555228 w 667724"/>
              <a:gd name="connsiteY349" fmla="*/ 230026 h 667797"/>
              <a:gd name="connsiteX350" fmla="*/ 556480 w 667724"/>
              <a:gd name="connsiteY350" fmla="*/ 232737 h 667797"/>
              <a:gd name="connsiteX351" fmla="*/ 557695 w 667724"/>
              <a:gd name="connsiteY351" fmla="*/ 235447 h 667797"/>
              <a:gd name="connsiteX352" fmla="*/ 557732 w 667724"/>
              <a:gd name="connsiteY352" fmla="*/ 235532 h 667797"/>
              <a:gd name="connsiteX353" fmla="*/ 560041 w 667724"/>
              <a:gd name="connsiteY353" fmla="*/ 240966 h 667797"/>
              <a:gd name="connsiteX354" fmla="*/ 561160 w 667724"/>
              <a:gd name="connsiteY354" fmla="*/ 243749 h 667797"/>
              <a:gd name="connsiteX355" fmla="*/ 562254 w 667724"/>
              <a:gd name="connsiteY355" fmla="*/ 246545 h 667797"/>
              <a:gd name="connsiteX356" fmla="*/ 563299 w 667724"/>
              <a:gd name="connsiteY356" fmla="*/ 249353 h 667797"/>
              <a:gd name="connsiteX357" fmla="*/ 564320 w 667724"/>
              <a:gd name="connsiteY357" fmla="*/ 252185 h 667797"/>
              <a:gd name="connsiteX358" fmla="*/ 565779 w 667724"/>
              <a:gd name="connsiteY358" fmla="*/ 256415 h 667797"/>
              <a:gd name="connsiteX359" fmla="*/ 566739 w 667724"/>
              <a:gd name="connsiteY359" fmla="*/ 259332 h 667797"/>
              <a:gd name="connsiteX360" fmla="*/ 567590 w 667724"/>
              <a:gd name="connsiteY360" fmla="*/ 262079 h 667797"/>
              <a:gd name="connsiteX361" fmla="*/ 568769 w 667724"/>
              <a:gd name="connsiteY361" fmla="*/ 266018 h 667797"/>
              <a:gd name="connsiteX362" fmla="*/ 569060 w 667724"/>
              <a:gd name="connsiteY362" fmla="*/ 267027 h 667797"/>
              <a:gd name="connsiteX363" fmla="*/ 569741 w 667724"/>
              <a:gd name="connsiteY363" fmla="*/ 269494 h 667797"/>
              <a:gd name="connsiteX364" fmla="*/ 571273 w 667724"/>
              <a:gd name="connsiteY364" fmla="*/ 275377 h 667797"/>
              <a:gd name="connsiteX365" fmla="*/ 572646 w 667724"/>
              <a:gd name="connsiteY365" fmla="*/ 281309 h 667797"/>
              <a:gd name="connsiteX366" fmla="*/ 573291 w 667724"/>
              <a:gd name="connsiteY366" fmla="*/ 284311 h 667797"/>
              <a:gd name="connsiteX367" fmla="*/ 573886 w 667724"/>
              <a:gd name="connsiteY367" fmla="*/ 287314 h 667797"/>
              <a:gd name="connsiteX368" fmla="*/ 574445 w 667724"/>
              <a:gd name="connsiteY368" fmla="*/ 290340 h 667797"/>
              <a:gd name="connsiteX369" fmla="*/ 574956 w 667724"/>
              <a:gd name="connsiteY369" fmla="*/ 293246 h 667797"/>
              <a:gd name="connsiteX370" fmla="*/ 574992 w 667724"/>
              <a:gd name="connsiteY370" fmla="*/ 293501 h 667797"/>
              <a:gd name="connsiteX371" fmla="*/ 575454 w 667724"/>
              <a:gd name="connsiteY371" fmla="*/ 296406 h 667797"/>
              <a:gd name="connsiteX372" fmla="*/ 575904 w 667724"/>
              <a:gd name="connsiteY372" fmla="*/ 299457 h 667797"/>
              <a:gd name="connsiteX373" fmla="*/ 576317 w 667724"/>
              <a:gd name="connsiteY373" fmla="*/ 302532 h 667797"/>
              <a:gd name="connsiteX374" fmla="*/ 577034 w 667724"/>
              <a:gd name="connsiteY374" fmla="*/ 308695 h 667797"/>
              <a:gd name="connsiteX375" fmla="*/ 577326 w 667724"/>
              <a:gd name="connsiteY375" fmla="*/ 311794 h 667797"/>
              <a:gd name="connsiteX376" fmla="*/ 577788 w 667724"/>
              <a:gd name="connsiteY376" fmla="*/ 317605 h 667797"/>
              <a:gd name="connsiteX377" fmla="*/ 577812 w 667724"/>
              <a:gd name="connsiteY377" fmla="*/ 318152 h 667797"/>
              <a:gd name="connsiteX378" fmla="*/ 577970 w 667724"/>
              <a:gd name="connsiteY378" fmla="*/ 320777 h 667797"/>
              <a:gd name="connsiteX379" fmla="*/ 578043 w 667724"/>
              <a:gd name="connsiteY379" fmla="*/ 322212 h 667797"/>
              <a:gd name="connsiteX380" fmla="*/ 578128 w 667724"/>
              <a:gd name="connsiteY380" fmla="*/ 324327 h 667797"/>
              <a:gd name="connsiteX381" fmla="*/ 578238 w 667724"/>
              <a:gd name="connsiteY381" fmla="*/ 327912 h 667797"/>
              <a:gd name="connsiteX382" fmla="*/ 578274 w 667724"/>
              <a:gd name="connsiteY382" fmla="*/ 330647 h 667797"/>
              <a:gd name="connsiteX383" fmla="*/ 578299 w 667724"/>
              <a:gd name="connsiteY383" fmla="*/ 333820 h 667797"/>
              <a:gd name="connsiteX384" fmla="*/ 578274 w 667724"/>
              <a:gd name="connsiteY384" fmla="*/ 336992 h 667797"/>
              <a:gd name="connsiteX385" fmla="*/ 578238 w 667724"/>
              <a:gd name="connsiteY385" fmla="*/ 339727 h 667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Lst>
            <a:rect l="l" t="t" r="r" b="b"/>
            <a:pathLst>
              <a:path w="667724" h="667797">
                <a:moveTo>
                  <a:pt x="423270" y="12155"/>
                </a:moveTo>
                <a:cubicBezTo>
                  <a:pt x="398376" y="5263"/>
                  <a:pt x="372340" y="1155"/>
                  <a:pt x="345489" y="231"/>
                </a:cubicBezTo>
                <a:cubicBezTo>
                  <a:pt x="344042" y="182"/>
                  <a:pt x="342608" y="146"/>
                  <a:pt x="341162" y="97"/>
                </a:cubicBezTo>
                <a:cubicBezTo>
                  <a:pt x="338731" y="49"/>
                  <a:pt x="336312" y="0"/>
                  <a:pt x="333881" y="0"/>
                </a:cubicBezTo>
                <a:cubicBezTo>
                  <a:pt x="278112" y="0"/>
                  <a:pt x="225553" y="13687"/>
                  <a:pt x="179339" y="37864"/>
                </a:cubicBezTo>
                <a:cubicBezTo>
                  <a:pt x="179169" y="37949"/>
                  <a:pt x="178998" y="38046"/>
                  <a:pt x="178828" y="38131"/>
                </a:cubicBezTo>
                <a:cubicBezTo>
                  <a:pt x="178682" y="38192"/>
                  <a:pt x="178561" y="38277"/>
                  <a:pt x="178415" y="38350"/>
                </a:cubicBezTo>
                <a:cubicBezTo>
                  <a:pt x="146884" y="54978"/>
                  <a:pt x="118319" y="76505"/>
                  <a:pt x="93778" y="101910"/>
                </a:cubicBezTo>
                <a:lnTo>
                  <a:pt x="93766" y="101910"/>
                </a:lnTo>
                <a:cubicBezTo>
                  <a:pt x="86570" y="109361"/>
                  <a:pt x="79714" y="117152"/>
                  <a:pt x="73223" y="125248"/>
                </a:cubicBezTo>
                <a:cubicBezTo>
                  <a:pt x="64192" y="136516"/>
                  <a:pt x="55866" y="148416"/>
                  <a:pt x="48317" y="160826"/>
                </a:cubicBezTo>
                <a:cubicBezTo>
                  <a:pt x="47965" y="161410"/>
                  <a:pt x="47588" y="162017"/>
                  <a:pt x="47235" y="162601"/>
                </a:cubicBezTo>
                <a:cubicBezTo>
                  <a:pt x="47223" y="162625"/>
                  <a:pt x="47211" y="162649"/>
                  <a:pt x="47199" y="162662"/>
                </a:cubicBezTo>
                <a:cubicBezTo>
                  <a:pt x="39383" y="175704"/>
                  <a:pt x="32442" y="189318"/>
                  <a:pt x="26462" y="203430"/>
                </a:cubicBezTo>
                <a:lnTo>
                  <a:pt x="26450" y="203430"/>
                </a:lnTo>
                <a:cubicBezTo>
                  <a:pt x="23204" y="211064"/>
                  <a:pt x="20239" y="218855"/>
                  <a:pt x="17552" y="226768"/>
                </a:cubicBezTo>
                <a:lnTo>
                  <a:pt x="17564" y="226768"/>
                </a:lnTo>
                <a:cubicBezTo>
                  <a:pt x="16094" y="231084"/>
                  <a:pt x="14732" y="235423"/>
                  <a:pt x="13444" y="239811"/>
                </a:cubicBezTo>
                <a:cubicBezTo>
                  <a:pt x="7317" y="260742"/>
                  <a:pt x="3197" y="282537"/>
                  <a:pt x="1264" y="304951"/>
                </a:cubicBezTo>
                <a:cubicBezTo>
                  <a:pt x="596" y="312658"/>
                  <a:pt x="207" y="320437"/>
                  <a:pt x="73" y="328289"/>
                </a:cubicBezTo>
                <a:cubicBezTo>
                  <a:pt x="37" y="330149"/>
                  <a:pt x="0" y="332021"/>
                  <a:pt x="0" y="333893"/>
                </a:cubicBezTo>
                <a:cubicBezTo>
                  <a:pt x="0" y="338487"/>
                  <a:pt x="109" y="343046"/>
                  <a:pt x="304" y="347592"/>
                </a:cubicBezTo>
                <a:cubicBezTo>
                  <a:pt x="948" y="363406"/>
                  <a:pt x="2686" y="378916"/>
                  <a:pt x="5446" y="394098"/>
                </a:cubicBezTo>
                <a:cubicBezTo>
                  <a:pt x="6211" y="398243"/>
                  <a:pt x="7026" y="402400"/>
                  <a:pt x="7950" y="406496"/>
                </a:cubicBezTo>
                <a:lnTo>
                  <a:pt x="7937" y="406496"/>
                </a:lnTo>
                <a:cubicBezTo>
                  <a:pt x="9688" y="414385"/>
                  <a:pt x="11730" y="422152"/>
                  <a:pt x="14027" y="429822"/>
                </a:cubicBezTo>
                <a:cubicBezTo>
                  <a:pt x="22341" y="457585"/>
                  <a:pt x="34156" y="483816"/>
                  <a:pt x="48974" y="508017"/>
                </a:cubicBezTo>
                <a:cubicBezTo>
                  <a:pt x="53872" y="516015"/>
                  <a:pt x="59099" y="523794"/>
                  <a:pt x="64630" y="531343"/>
                </a:cubicBezTo>
                <a:lnTo>
                  <a:pt x="64642" y="531343"/>
                </a:lnTo>
                <a:cubicBezTo>
                  <a:pt x="77927" y="549442"/>
                  <a:pt x="93012" y="566155"/>
                  <a:pt x="109604" y="581216"/>
                </a:cubicBezTo>
                <a:cubicBezTo>
                  <a:pt x="157483" y="624671"/>
                  <a:pt x="218005" y="654402"/>
                  <a:pt x="285041" y="664236"/>
                </a:cubicBezTo>
                <a:lnTo>
                  <a:pt x="285053" y="664236"/>
                </a:lnTo>
                <a:cubicBezTo>
                  <a:pt x="301001" y="666570"/>
                  <a:pt x="317277" y="667798"/>
                  <a:pt x="333868" y="667798"/>
                </a:cubicBezTo>
                <a:cubicBezTo>
                  <a:pt x="337746" y="667798"/>
                  <a:pt x="341611" y="667725"/>
                  <a:pt x="345452" y="667591"/>
                </a:cubicBezTo>
                <a:cubicBezTo>
                  <a:pt x="358082" y="667153"/>
                  <a:pt x="370517" y="666023"/>
                  <a:pt x="382745" y="664224"/>
                </a:cubicBezTo>
                <a:cubicBezTo>
                  <a:pt x="396541" y="662206"/>
                  <a:pt x="410045" y="659325"/>
                  <a:pt x="423246" y="655655"/>
                </a:cubicBezTo>
                <a:cubicBezTo>
                  <a:pt x="560005" y="617742"/>
                  <a:pt x="661477" y="494986"/>
                  <a:pt x="667421" y="347616"/>
                </a:cubicBezTo>
                <a:cubicBezTo>
                  <a:pt x="667615" y="343070"/>
                  <a:pt x="667725" y="338512"/>
                  <a:pt x="667725" y="333917"/>
                </a:cubicBezTo>
                <a:cubicBezTo>
                  <a:pt x="667725" y="180493"/>
                  <a:pt x="564223" y="51283"/>
                  <a:pt x="423234" y="12192"/>
                </a:cubicBezTo>
                <a:close/>
                <a:moveTo>
                  <a:pt x="578213" y="339788"/>
                </a:moveTo>
                <a:cubicBezTo>
                  <a:pt x="578177" y="340991"/>
                  <a:pt x="578141" y="342183"/>
                  <a:pt x="578104" y="343374"/>
                </a:cubicBezTo>
                <a:cubicBezTo>
                  <a:pt x="578080" y="344091"/>
                  <a:pt x="578043" y="344796"/>
                  <a:pt x="578019" y="345489"/>
                </a:cubicBezTo>
                <a:cubicBezTo>
                  <a:pt x="577995" y="345963"/>
                  <a:pt x="577970" y="346449"/>
                  <a:pt x="577946" y="346923"/>
                </a:cubicBezTo>
                <a:cubicBezTo>
                  <a:pt x="577910" y="347798"/>
                  <a:pt x="577861" y="348674"/>
                  <a:pt x="577788" y="349549"/>
                </a:cubicBezTo>
                <a:cubicBezTo>
                  <a:pt x="577776" y="349731"/>
                  <a:pt x="577764" y="349901"/>
                  <a:pt x="577764" y="350096"/>
                </a:cubicBezTo>
                <a:cubicBezTo>
                  <a:pt x="577630" y="352040"/>
                  <a:pt x="577484" y="353973"/>
                  <a:pt x="577302" y="355906"/>
                </a:cubicBezTo>
                <a:cubicBezTo>
                  <a:pt x="577217" y="356939"/>
                  <a:pt x="577107" y="357972"/>
                  <a:pt x="577010" y="359006"/>
                </a:cubicBezTo>
                <a:cubicBezTo>
                  <a:pt x="576791" y="361072"/>
                  <a:pt x="576560" y="363126"/>
                  <a:pt x="576293" y="365168"/>
                </a:cubicBezTo>
                <a:cubicBezTo>
                  <a:pt x="576171" y="366201"/>
                  <a:pt x="576026" y="367222"/>
                  <a:pt x="575880" y="368243"/>
                </a:cubicBezTo>
                <a:cubicBezTo>
                  <a:pt x="575600" y="370286"/>
                  <a:pt x="575284" y="372316"/>
                  <a:pt x="574944" y="374345"/>
                </a:cubicBezTo>
                <a:cubicBezTo>
                  <a:pt x="574761" y="375354"/>
                  <a:pt x="574603" y="376363"/>
                  <a:pt x="574421" y="377372"/>
                </a:cubicBezTo>
                <a:cubicBezTo>
                  <a:pt x="574226" y="378381"/>
                  <a:pt x="574056" y="379390"/>
                  <a:pt x="573862" y="380399"/>
                </a:cubicBezTo>
                <a:cubicBezTo>
                  <a:pt x="573655" y="381395"/>
                  <a:pt x="573461" y="382404"/>
                  <a:pt x="573266" y="383401"/>
                </a:cubicBezTo>
                <a:cubicBezTo>
                  <a:pt x="573060" y="384410"/>
                  <a:pt x="572841" y="385407"/>
                  <a:pt x="572622" y="386403"/>
                </a:cubicBezTo>
                <a:cubicBezTo>
                  <a:pt x="572184" y="388397"/>
                  <a:pt x="571723" y="390378"/>
                  <a:pt x="571248" y="392335"/>
                </a:cubicBezTo>
                <a:cubicBezTo>
                  <a:pt x="570774" y="394304"/>
                  <a:pt x="570264" y="396261"/>
                  <a:pt x="569717" y="398218"/>
                </a:cubicBezTo>
                <a:cubicBezTo>
                  <a:pt x="569498" y="399045"/>
                  <a:pt x="569267" y="399859"/>
                  <a:pt x="569036" y="400686"/>
                </a:cubicBezTo>
                <a:cubicBezTo>
                  <a:pt x="568939" y="401026"/>
                  <a:pt x="568842" y="401367"/>
                  <a:pt x="568744" y="401695"/>
                </a:cubicBezTo>
                <a:cubicBezTo>
                  <a:pt x="568380" y="403020"/>
                  <a:pt x="567991" y="404320"/>
                  <a:pt x="567565" y="405633"/>
                </a:cubicBezTo>
                <a:cubicBezTo>
                  <a:pt x="567286" y="406569"/>
                  <a:pt x="566994" y="407493"/>
                  <a:pt x="566702" y="408429"/>
                </a:cubicBezTo>
                <a:cubicBezTo>
                  <a:pt x="566435" y="409255"/>
                  <a:pt x="566167" y="410094"/>
                  <a:pt x="565888" y="410921"/>
                </a:cubicBezTo>
                <a:cubicBezTo>
                  <a:pt x="565694" y="411504"/>
                  <a:pt x="565499" y="412100"/>
                  <a:pt x="565305" y="412683"/>
                </a:cubicBezTo>
                <a:cubicBezTo>
                  <a:pt x="564988" y="413643"/>
                  <a:pt x="564648" y="414579"/>
                  <a:pt x="564308" y="415527"/>
                </a:cubicBezTo>
                <a:cubicBezTo>
                  <a:pt x="563980" y="416476"/>
                  <a:pt x="563639" y="417411"/>
                  <a:pt x="563287" y="418360"/>
                </a:cubicBezTo>
                <a:cubicBezTo>
                  <a:pt x="562946" y="419296"/>
                  <a:pt x="562594" y="420232"/>
                  <a:pt x="562241" y="421167"/>
                </a:cubicBezTo>
                <a:cubicBezTo>
                  <a:pt x="561524" y="423027"/>
                  <a:pt x="560783" y="424899"/>
                  <a:pt x="560017" y="426747"/>
                </a:cubicBezTo>
                <a:cubicBezTo>
                  <a:pt x="559263" y="428570"/>
                  <a:pt x="558498" y="430381"/>
                  <a:pt x="557707" y="432180"/>
                </a:cubicBezTo>
                <a:cubicBezTo>
                  <a:pt x="557695" y="432204"/>
                  <a:pt x="557683" y="432241"/>
                  <a:pt x="557671" y="432265"/>
                </a:cubicBezTo>
                <a:cubicBezTo>
                  <a:pt x="557270" y="433177"/>
                  <a:pt x="556869" y="434064"/>
                  <a:pt x="556455" y="434976"/>
                </a:cubicBezTo>
                <a:cubicBezTo>
                  <a:pt x="556042" y="435887"/>
                  <a:pt x="555629" y="436775"/>
                  <a:pt x="555204" y="437686"/>
                </a:cubicBezTo>
                <a:cubicBezTo>
                  <a:pt x="554802" y="438525"/>
                  <a:pt x="554401" y="439376"/>
                  <a:pt x="553988" y="440215"/>
                </a:cubicBezTo>
                <a:cubicBezTo>
                  <a:pt x="553952" y="440288"/>
                  <a:pt x="553915" y="440373"/>
                  <a:pt x="553879" y="440458"/>
                </a:cubicBezTo>
                <a:cubicBezTo>
                  <a:pt x="553453" y="441321"/>
                  <a:pt x="553040" y="442196"/>
                  <a:pt x="552602" y="443047"/>
                </a:cubicBezTo>
                <a:cubicBezTo>
                  <a:pt x="551703" y="444822"/>
                  <a:pt x="550803" y="446596"/>
                  <a:pt x="549867" y="448347"/>
                </a:cubicBezTo>
                <a:cubicBezTo>
                  <a:pt x="549430" y="449149"/>
                  <a:pt x="549004" y="449963"/>
                  <a:pt x="548567" y="450778"/>
                </a:cubicBezTo>
                <a:cubicBezTo>
                  <a:pt x="547582" y="452577"/>
                  <a:pt x="546573" y="454364"/>
                  <a:pt x="545540" y="456138"/>
                </a:cubicBezTo>
                <a:cubicBezTo>
                  <a:pt x="545090" y="456928"/>
                  <a:pt x="544628" y="457706"/>
                  <a:pt x="544179" y="458484"/>
                </a:cubicBezTo>
                <a:cubicBezTo>
                  <a:pt x="542112" y="461961"/>
                  <a:pt x="539961" y="465364"/>
                  <a:pt x="537749" y="468731"/>
                </a:cubicBezTo>
                <a:cubicBezTo>
                  <a:pt x="537202" y="469545"/>
                  <a:pt x="536655" y="470360"/>
                  <a:pt x="536083" y="471186"/>
                </a:cubicBezTo>
                <a:cubicBezTo>
                  <a:pt x="535548" y="472001"/>
                  <a:pt x="534989" y="472803"/>
                  <a:pt x="534406" y="473630"/>
                </a:cubicBezTo>
                <a:cubicBezTo>
                  <a:pt x="533847" y="474432"/>
                  <a:pt x="533275" y="475234"/>
                  <a:pt x="532692" y="476036"/>
                </a:cubicBezTo>
                <a:cubicBezTo>
                  <a:pt x="532121" y="476839"/>
                  <a:pt x="531537" y="477629"/>
                  <a:pt x="530954" y="478419"/>
                </a:cubicBezTo>
                <a:cubicBezTo>
                  <a:pt x="530370" y="479221"/>
                  <a:pt x="529775" y="479999"/>
                  <a:pt x="529191" y="480789"/>
                </a:cubicBezTo>
                <a:cubicBezTo>
                  <a:pt x="528596" y="481579"/>
                  <a:pt x="528000" y="482357"/>
                  <a:pt x="527392" y="483135"/>
                </a:cubicBezTo>
                <a:cubicBezTo>
                  <a:pt x="526809" y="483913"/>
                  <a:pt x="526189" y="484679"/>
                  <a:pt x="525593" y="485444"/>
                </a:cubicBezTo>
                <a:cubicBezTo>
                  <a:pt x="525593" y="485444"/>
                  <a:pt x="525581" y="485453"/>
                  <a:pt x="525569" y="485469"/>
                </a:cubicBezTo>
                <a:cubicBezTo>
                  <a:pt x="524961" y="486235"/>
                  <a:pt x="524354" y="487000"/>
                  <a:pt x="523734" y="487766"/>
                </a:cubicBezTo>
                <a:cubicBezTo>
                  <a:pt x="522518" y="489261"/>
                  <a:pt x="521290" y="490732"/>
                  <a:pt x="520051" y="492191"/>
                </a:cubicBezTo>
                <a:cubicBezTo>
                  <a:pt x="519965" y="492288"/>
                  <a:pt x="519880" y="492397"/>
                  <a:pt x="519795" y="492495"/>
                </a:cubicBezTo>
                <a:cubicBezTo>
                  <a:pt x="519212" y="493175"/>
                  <a:pt x="518628" y="493844"/>
                  <a:pt x="518045" y="494524"/>
                </a:cubicBezTo>
                <a:cubicBezTo>
                  <a:pt x="517364" y="495290"/>
                  <a:pt x="516696" y="496056"/>
                  <a:pt x="516015" y="496822"/>
                </a:cubicBezTo>
                <a:cubicBezTo>
                  <a:pt x="515383" y="497527"/>
                  <a:pt x="514739" y="498232"/>
                  <a:pt x="514094" y="498912"/>
                </a:cubicBezTo>
                <a:cubicBezTo>
                  <a:pt x="512782" y="500371"/>
                  <a:pt x="511445" y="501793"/>
                  <a:pt x="510059" y="503215"/>
                </a:cubicBezTo>
                <a:cubicBezTo>
                  <a:pt x="509378" y="503920"/>
                  <a:pt x="508698" y="504638"/>
                  <a:pt x="508005" y="505318"/>
                </a:cubicBezTo>
                <a:cubicBezTo>
                  <a:pt x="507312" y="506023"/>
                  <a:pt x="506631" y="506728"/>
                  <a:pt x="505926" y="507409"/>
                </a:cubicBezTo>
                <a:cubicBezTo>
                  <a:pt x="505197" y="508138"/>
                  <a:pt x="504455" y="508855"/>
                  <a:pt x="503714" y="509560"/>
                </a:cubicBezTo>
                <a:cubicBezTo>
                  <a:pt x="502972" y="510278"/>
                  <a:pt x="502231" y="510995"/>
                  <a:pt x="501477" y="511688"/>
                </a:cubicBezTo>
                <a:cubicBezTo>
                  <a:pt x="499229" y="513803"/>
                  <a:pt x="496931" y="515881"/>
                  <a:pt x="494609" y="517911"/>
                </a:cubicBezTo>
                <a:cubicBezTo>
                  <a:pt x="493832" y="518592"/>
                  <a:pt x="493054" y="519260"/>
                  <a:pt x="492276" y="519929"/>
                </a:cubicBezTo>
                <a:cubicBezTo>
                  <a:pt x="490817" y="521169"/>
                  <a:pt x="489371" y="522384"/>
                  <a:pt x="487888" y="523576"/>
                </a:cubicBezTo>
                <a:cubicBezTo>
                  <a:pt x="485311" y="525678"/>
                  <a:pt x="482661" y="527733"/>
                  <a:pt x="479987" y="529726"/>
                </a:cubicBezTo>
                <a:cubicBezTo>
                  <a:pt x="479233" y="530297"/>
                  <a:pt x="478467" y="530857"/>
                  <a:pt x="477714" y="531416"/>
                </a:cubicBezTo>
                <a:cubicBezTo>
                  <a:pt x="476036" y="532643"/>
                  <a:pt x="474359" y="533822"/>
                  <a:pt x="472657" y="535001"/>
                </a:cubicBezTo>
                <a:cubicBezTo>
                  <a:pt x="471806" y="535585"/>
                  <a:pt x="470955" y="536181"/>
                  <a:pt x="470092" y="536752"/>
                </a:cubicBezTo>
                <a:cubicBezTo>
                  <a:pt x="468379" y="537919"/>
                  <a:pt x="466665" y="539037"/>
                  <a:pt x="464914" y="540143"/>
                </a:cubicBezTo>
                <a:cubicBezTo>
                  <a:pt x="464051" y="540690"/>
                  <a:pt x="463164" y="541237"/>
                  <a:pt x="462289" y="541784"/>
                </a:cubicBezTo>
                <a:cubicBezTo>
                  <a:pt x="460004" y="543206"/>
                  <a:pt x="457694" y="544580"/>
                  <a:pt x="455372" y="545905"/>
                </a:cubicBezTo>
                <a:cubicBezTo>
                  <a:pt x="454619" y="546342"/>
                  <a:pt x="453865" y="546768"/>
                  <a:pt x="453112" y="547193"/>
                </a:cubicBezTo>
                <a:cubicBezTo>
                  <a:pt x="452589" y="547473"/>
                  <a:pt x="452078" y="547764"/>
                  <a:pt x="451556" y="548056"/>
                </a:cubicBezTo>
                <a:cubicBezTo>
                  <a:pt x="450644" y="548555"/>
                  <a:pt x="449732" y="549041"/>
                  <a:pt x="448809" y="549539"/>
                </a:cubicBezTo>
                <a:cubicBezTo>
                  <a:pt x="447897" y="550025"/>
                  <a:pt x="446985" y="550512"/>
                  <a:pt x="446049" y="550986"/>
                </a:cubicBezTo>
                <a:cubicBezTo>
                  <a:pt x="445125" y="551472"/>
                  <a:pt x="444202" y="551946"/>
                  <a:pt x="443278" y="552408"/>
                </a:cubicBezTo>
                <a:cubicBezTo>
                  <a:pt x="438464" y="554814"/>
                  <a:pt x="433566" y="557075"/>
                  <a:pt x="428570" y="559178"/>
                </a:cubicBezTo>
                <a:cubicBezTo>
                  <a:pt x="427792" y="559506"/>
                  <a:pt x="427002" y="559847"/>
                  <a:pt x="426200" y="560163"/>
                </a:cubicBezTo>
                <a:cubicBezTo>
                  <a:pt x="425227" y="560576"/>
                  <a:pt x="424243" y="560965"/>
                  <a:pt x="423258" y="561354"/>
                </a:cubicBezTo>
                <a:cubicBezTo>
                  <a:pt x="398984" y="570896"/>
                  <a:pt x="372814" y="576682"/>
                  <a:pt x="345465" y="577958"/>
                </a:cubicBezTo>
                <a:lnTo>
                  <a:pt x="345355" y="577958"/>
                </a:lnTo>
                <a:cubicBezTo>
                  <a:pt x="344431" y="578007"/>
                  <a:pt x="343520" y="578043"/>
                  <a:pt x="342596" y="578068"/>
                </a:cubicBezTo>
                <a:cubicBezTo>
                  <a:pt x="341624" y="578104"/>
                  <a:pt x="340663" y="578140"/>
                  <a:pt x="339703" y="578153"/>
                </a:cubicBezTo>
                <a:cubicBezTo>
                  <a:pt x="338731" y="578189"/>
                  <a:pt x="337758" y="578201"/>
                  <a:pt x="336798" y="578213"/>
                </a:cubicBezTo>
                <a:cubicBezTo>
                  <a:pt x="335838" y="578226"/>
                  <a:pt x="334853" y="578226"/>
                  <a:pt x="333893" y="578226"/>
                </a:cubicBezTo>
                <a:cubicBezTo>
                  <a:pt x="333054" y="578226"/>
                  <a:pt x="332203" y="578226"/>
                  <a:pt x="331365" y="578213"/>
                </a:cubicBezTo>
                <a:cubicBezTo>
                  <a:pt x="330817" y="578213"/>
                  <a:pt x="330270" y="578201"/>
                  <a:pt x="329723" y="578189"/>
                </a:cubicBezTo>
                <a:cubicBezTo>
                  <a:pt x="329128" y="578177"/>
                  <a:pt x="328520" y="578177"/>
                  <a:pt x="327912" y="578153"/>
                </a:cubicBezTo>
                <a:cubicBezTo>
                  <a:pt x="326928" y="578140"/>
                  <a:pt x="325931" y="578104"/>
                  <a:pt x="324934" y="578068"/>
                </a:cubicBezTo>
                <a:cubicBezTo>
                  <a:pt x="324399" y="578055"/>
                  <a:pt x="323852" y="578031"/>
                  <a:pt x="323318" y="578007"/>
                </a:cubicBezTo>
                <a:cubicBezTo>
                  <a:pt x="322649" y="577982"/>
                  <a:pt x="322005" y="577958"/>
                  <a:pt x="321349" y="577922"/>
                </a:cubicBezTo>
                <a:cubicBezTo>
                  <a:pt x="320522" y="577885"/>
                  <a:pt x="319683" y="577837"/>
                  <a:pt x="318857" y="577776"/>
                </a:cubicBezTo>
                <a:cubicBezTo>
                  <a:pt x="317398" y="577703"/>
                  <a:pt x="315964" y="577594"/>
                  <a:pt x="314529" y="577484"/>
                </a:cubicBezTo>
                <a:cubicBezTo>
                  <a:pt x="312670" y="577326"/>
                  <a:pt x="310810" y="577168"/>
                  <a:pt x="308962" y="576974"/>
                </a:cubicBezTo>
                <a:cubicBezTo>
                  <a:pt x="308148" y="576901"/>
                  <a:pt x="307321" y="576803"/>
                  <a:pt x="306495" y="576718"/>
                </a:cubicBezTo>
                <a:cubicBezTo>
                  <a:pt x="304866" y="576536"/>
                  <a:pt x="303237" y="576329"/>
                  <a:pt x="301608" y="576123"/>
                </a:cubicBezTo>
                <a:cubicBezTo>
                  <a:pt x="299992" y="575916"/>
                  <a:pt x="298363" y="575685"/>
                  <a:pt x="296758" y="575430"/>
                </a:cubicBezTo>
                <a:cubicBezTo>
                  <a:pt x="295944" y="575320"/>
                  <a:pt x="295142" y="575187"/>
                  <a:pt x="294327" y="575053"/>
                </a:cubicBezTo>
                <a:cubicBezTo>
                  <a:pt x="291921" y="574652"/>
                  <a:pt x="289514" y="574239"/>
                  <a:pt x="287132" y="573777"/>
                </a:cubicBezTo>
                <a:cubicBezTo>
                  <a:pt x="284871" y="573339"/>
                  <a:pt x="282610" y="572865"/>
                  <a:pt x="280385" y="572355"/>
                </a:cubicBezTo>
                <a:cubicBezTo>
                  <a:pt x="276070" y="571394"/>
                  <a:pt x="271792" y="570312"/>
                  <a:pt x="267574" y="569121"/>
                </a:cubicBezTo>
                <a:cubicBezTo>
                  <a:pt x="266650" y="568866"/>
                  <a:pt x="265738" y="568599"/>
                  <a:pt x="264827" y="568331"/>
                </a:cubicBezTo>
                <a:cubicBezTo>
                  <a:pt x="263903" y="568064"/>
                  <a:pt x="263003" y="567796"/>
                  <a:pt x="262092" y="567517"/>
                </a:cubicBezTo>
                <a:cubicBezTo>
                  <a:pt x="259126" y="566605"/>
                  <a:pt x="256196" y="565645"/>
                  <a:pt x="253279" y="564624"/>
                </a:cubicBezTo>
                <a:cubicBezTo>
                  <a:pt x="252611" y="564393"/>
                  <a:pt x="251954" y="564162"/>
                  <a:pt x="251298" y="563919"/>
                </a:cubicBezTo>
                <a:cubicBezTo>
                  <a:pt x="250410" y="563603"/>
                  <a:pt x="249523" y="563287"/>
                  <a:pt x="248636" y="562946"/>
                </a:cubicBezTo>
                <a:cubicBezTo>
                  <a:pt x="248064" y="562728"/>
                  <a:pt x="247469" y="562509"/>
                  <a:pt x="246885" y="562278"/>
                </a:cubicBezTo>
                <a:cubicBezTo>
                  <a:pt x="245706" y="561828"/>
                  <a:pt x="244539" y="561391"/>
                  <a:pt x="243360" y="560916"/>
                </a:cubicBezTo>
                <a:cubicBezTo>
                  <a:pt x="241878" y="560333"/>
                  <a:pt x="240407" y="559725"/>
                  <a:pt x="238960" y="559105"/>
                </a:cubicBezTo>
                <a:cubicBezTo>
                  <a:pt x="237489" y="558498"/>
                  <a:pt x="236055" y="557865"/>
                  <a:pt x="234609" y="557221"/>
                </a:cubicBezTo>
                <a:cubicBezTo>
                  <a:pt x="233162" y="556589"/>
                  <a:pt x="231728" y="555933"/>
                  <a:pt x="230294" y="555252"/>
                </a:cubicBezTo>
                <a:cubicBezTo>
                  <a:pt x="229017" y="554656"/>
                  <a:pt x="227753" y="554049"/>
                  <a:pt x="226489" y="553417"/>
                </a:cubicBezTo>
                <a:cubicBezTo>
                  <a:pt x="226246" y="553319"/>
                  <a:pt x="226003" y="553198"/>
                  <a:pt x="225760" y="553064"/>
                </a:cubicBezTo>
                <a:cubicBezTo>
                  <a:pt x="224435" y="552432"/>
                  <a:pt x="223122" y="551764"/>
                  <a:pt x="221797" y="551071"/>
                </a:cubicBezTo>
                <a:cubicBezTo>
                  <a:pt x="220387" y="550354"/>
                  <a:pt x="219001" y="549612"/>
                  <a:pt x="217628" y="548858"/>
                </a:cubicBezTo>
                <a:cubicBezTo>
                  <a:pt x="216242" y="548117"/>
                  <a:pt x="214868" y="547351"/>
                  <a:pt x="213507" y="546573"/>
                </a:cubicBezTo>
                <a:cubicBezTo>
                  <a:pt x="212146" y="545795"/>
                  <a:pt x="210784" y="545017"/>
                  <a:pt x="209435" y="544215"/>
                </a:cubicBezTo>
                <a:cubicBezTo>
                  <a:pt x="208086" y="543413"/>
                  <a:pt x="206737" y="542611"/>
                  <a:pt x="205400" y="541760"/>
                </a:cubicBezTo>
                <a:cubicBezTo>
                  <a:pt x="204075" y="540945"/>
                  <a:pt x="202750" y="540119"/>
                  <a:pt x="201425" y="539244"/>
                </a:cubicBezTo>
                <a:cubicBezTo>
                  <a:pt x="200112" y="538417"/>
                  <a:pt x="198799" y="537542"/>
                  <a:pt x="197511" y="536667"/>
                </a:cubicBezTo>
                <a:cubicBezTo>
                  <a:pt x="194910" y="534929"/>
                  <a:pt x="192357" y="533130"/>
                  <a:pt x="189829" y="531282"/>
                </a:cubicBezTo>
                <a:cubicBezTo>
                  <a:pt x="187398" y="529507"/>
                  <a:pt x="185003" y="527684"/>
                  <a:pt x="182645" y="525824"/>
                </a:cubicBezTo>
                <a:cubicBezTo>
                  <a:pt x="181685" y="525058"/>
                  <a:pt x="180724" y="524293"/>
                  <a:pt x="179776" y="523515"/>
                </a:cubicBezTo>
                <a:cubicBezTo>
                  <a:pt x="179156" y="523016"/>
                  <a:pt x="178524" y="522506"/>
                  <a:pt x="177916" y="521983"/>
                </a:cubicBezTo>
                <a:cubicBezTo>
                  <a:pt x="177601" y="521728"/>
                  <a:pt x="177297" y="521473"/>
                  <a:pt x="176981" y="521205"/>
                </a:cubicBezTo>
                <a:cubicBezTo>
                  <a:pt x="176251" y="520610"/>
                  <a:pt x="175534" y="519990"/>
                  <a:pt x="174829" y="519382"/>
                </a:cubicBezTo>
                <a:cubicBezTo>
                  <a:pt x="173383" y="518142"/>
                  <a:pt x="171948" y="516890"/>
                  <a:pt x="170538" y="515614"/>
                </a:cubicBezTo>
                <a:cubicBezTo>
                  <a:pt x="169821" y="514982"/>
                  <a:pt x="169104" y="514325"/>
                  <a:pt x="168411" y="513657"/>
                </a:cubicBezTo>
                <a:cubicBezTo>
                  <a:pt x="167585" y="512915"/>
                  <a:pt x="166770" y="512150"/>
                  <a:pt x="165944" y="511372"/>
                </a:cubicBezTo>
                <a:cubicBezTo>
                  <a:pt x="164740" y="510253"/>
                  <a:pt x="163573" y="509099"/>
                  <a:pt x="162394" y="507956"/>
                </a:cubicBezTo>
                <a:cubicBezTo>
                  <a:pt x="161689" y="507263"/>
                  <a:pt x="160996" y="506570"/>
                  <a:pt x="160304" y="505865"/>
                </a:cubicBezTo>
                <a:cubicBezTo>
                  <a:pt x="159659" y="505221"/>
                  <a:pt x="159039" y="504589"/>
                  <a:pt x="158432" y="503945"/>
                </a:cubicBezTo>
                <a:cubicBezTo>
                  <a:pt x="157423" y="502912"/>
                  <a:pt x="156414" y="501866"/>
                  <a:pt x="155441" y="500809"/>
                </a:cubicBezTo>
                <a:cubicBezTo>
                  <a:pt x="154664" y="499994"/>
                  <a:pt x="153910" y="499180"/>
                  <a:pt x="153156" y="498341"/>
                </a:cubicBezTo>
                <a:cubicBezTo>
                  <a:pt x="152476" y="497600"/>
                  <a:pt x="151807" y="496846"/>
                  <a:pt x="151138" y="496092"/>
                </a:cubicBezTo>
                <a:cubicBezTo>
                  <a:pt x="150166" y="494999"/>
                  <a:pt x="149194" y="493892"/>
                  <a:pt x="148258" y="492786"/>
                </a:cubicBezTo>
                <a:cubicBezTo>
                  <a:pt x="147601" y="492033"/>
                  <a:pt x="146969" y="491279"/>
                  <a:pt x="146337" y="490525"/>
                </a:cubicBezTo>
                <a:cubicBezTo>
                  <a:pt x="145061" y="489006"/>
                  <a:pt x="143809" y="487474"/>
                  <a:pt x="142581" y="485918"/>
                </a:cubicBezTo>
                <a:cubicBezTo>
                  <a:pt x="142095" y="485323"/>
                  <a:pt x="141609" y="484715"/>
                  <a:pt x="141135" y="484107"/>
                </a:cubicBezTo>
                <a:cubicBezTo>
                  <a:pt x="140734" y="483597"/>
                  <a:pt x="140345" y="483086"/>
                  <a:pt x="139956" y="482564"/>
                </a:cubicBezTo>
                <a:cubicBezTo>
                  <a:pt x="139263" y="481701"/>
                  <a:pt x="138606" y="480813"/>
                  <a:pt x="137950" y="479938"/>
                </a:cubicBezTo>
                <a:cubicBezTo>
                  <a:pt x="136820" y="478431"/>
                  <a:pt x="135713" y="476911"/>
                  <a:pt x="134632" y="475380"/>
                </a:cubicBezTo>
                <a:cubicBezTo>
                  <a:pt x="133842" y="474286"/>
                  <a:pt x="133064" y="473168"/>
                  <a:pt x="132310" y="472062"/>
                </a:cubicBezTo>
                <a:cubicBezTo>
                  <a:pt x="132152" y="471855"/>
                  <a:pt x="132018" y="471636"/>
                  <a:pt x="131872" y="471429"/>
                </a:cubicBezTo>
                <a:cubicBezTo>
                  <a:pt x="131350" y="470676"/>
                  <a:pt x="130827" y="469910"/>
                  <a:pt x="130329" y="469144"/>
                </a:cubicBezTo>
                <a:cubicBezTo>
                  <a:pt x="129466" y="467856"/>
                  <a:pt x="128603" y="466543"/>
                  <a:pt x="127776" y="465230"/>
                </a:cubicBezTo>
                <a:cubicBezTo>
                  <a:pt x="126852" y="463796"/>
                  <a:pt x="125953" y="462362"/>
                  <a:pt x="125065" y="460891"/>
                </a:cubicBezTo>
                <a:cubicBezTo>
                  <a:pt x="124409" y="459845"/>
                  <a:pt x="123777" y="458776"/>
                  <a:pt x="123145" y="457694"/>
                </a:cubicBezTo>
                <a:cubicBezTo>
                  <a:pt x="122707" y="456977"/>
                  <a:pt x="122306" y="456260"/>
                  <a:pt x="121893" y="455543"/>
                </a:cubicBezTo>
                <a:cubicBezTo>
                  <a:pt x="121079" y="454133"/>
                  <a:pt x="120288" y="452735"/>
                  <a:pt x="119510" y="451313"/>
                </a:cubicBezTo>
                <a:cubicBezTo>
                  <a:pt x="118976" y="450328"/>
                  <a:pt x="118441" y="449343"/>
                  <a:pt x="117930" y="448359"/>
                </a:cubicBezTo>
                <a:cubicBezTo>
                  <a:pt x="117505" y="447581"/>
                  <a:pt x="117104" y="446803"/>
                  <a:pt x="116703" y="446025"/>
                </a:cubicBezTo>
                <a:cubicBezTo>
                  <a:pt x="116229" y="445150"/>
                  <a:pt x="115779" y="444250"/>
                  <a:pt x="115341" y="443375"/>
                </a:cubicBezTo>
                <a:cubicBezTo>
                  <a:pt x="114892" y="442476"/>
                  <a:pt x="114442" y="441588"/>
                  <a:pt x="114016" y="440677"/>
                </a:cubicBezTo>
                <a:cubicBezTo>
                  <a:pt x="113141" y="438878"/>
                  <a:pt x="112278" y="437067"/>
                  <a:pt x="111464" y="435255"/>
                </a:cubicBezTo>
                <a:cubicBezTo>
                  <a:pt x="110625" y="433432"/>
                  <a:pt x="109823" y="431609"/>
                  <a:pt x="109020" y="429761"/>
                </a:cubicBezTo>
                <a:cubicBezTo>
                  <a:pt x="108656" y="428898"/>
                  <a:pt x="108279" y="428011"/>
                  <a:pt x="107927" y="427136"/>
                </a:cubicBezTo>
                <a:cubicBezTo>
                  <a:pt x="107878" y="427038"/>
                  <a:pt x="107841" y="426929"/>
                  <a:pt x="107793" y="426832"/>
                </a:cubicBezTo>
                <a:cubicBezTo>
                  <a:pt x="107428" y="425932"/>
                  <a:pt x="107051" y="425033"/>
                  <a:pt x="106699" y="424109"/>
                </a:cubicBezTo>
                <a:cubicBezTo>
                  <a:pt x="106298" y="423124"/>
                  <a:pt x="105921" y="422140"/>
                  <a:pt x="105532" y="421143"/>
                </a:cubicBezTo>
                <a:cubicBezTo>
                  <a:pt x="105167" y="420171"/>
                  <a:pt x="104790" y="419210"/>
                  <a:pt x="104450" y="418238"/>
                </a:cubicBezTo>
                <a:cubicBezTo>
                  <a:pt x="104085" y="417266"/>
                  <a:pt x="103733" y="416293"/>
                  <a:pt x="103393" y="415321"/>
                </a:cubicBezTo>
                <a:cubicBezTo>
                  <a:pt x="103040" y="414348"/>
                  <a:pt x="102700" y="413364"/>
                  <a:pt x="102372" y="412379"/>
                </a:cubicBezTo>
                <a:cubicBezTo>
                  <a:pt x="102031" y="411395"/>
                  <a:pt x="101691" y="410410"/>
                  <a:pt x="101387" y="409413"/>
                </a:cubicBezTo>
                <a:cubicBezTo>
                  <a:pt x="101059" y="408429"/>
                  <a:pt x="100731" y="407432"/>
                  <a:pt x="100427" y="406435"/>
                </a:cubicBezTo>
                <a:cubicBezTo>
                  <a:pt x="99977" y="405001"/>
                  <a:pt x="99552" y="403567"/>
                  <a:pt x="99138" y="402120"/>
                </a:cubicBezTo>
                <a:cubicBezTo>
                  <a:pt x="98713" y="400674"/>
                  <a:pt x="98312" y="399227"/>
                  <a:pt x="97923" y="397769"/>
                </a:cubicBezTo>
                <a:cubicBezTo>
                  <a:pt x="97510" y="396310"/>
                  <a:pt x="97145" y="394864"/>
                  <a:pt x="96768" y="393393"/>
                </a:cubicBezTo>
                <a:cubicBezTo>
                  <a:pt x="96355" y="391752"/>
                  <a:pt x="95966" y="390087"/>
                  <a:pt x="95577" y="388409"/>
                </a:cubicBezTo>
                <a:cubicBezTo>
                  <a:pt x="95309" y="387254"/>
                  <a:pt x="95054" y="386100"/>
                  <a:pt x="94811" y="384933"/>
                </a:cubicBezTo>
                <a:cubicBezTo>
                  <a:pt x="94762" y="384677"/>
                  <a:pt x="94702" y="384422"/>
                  <a:pt x="94653" y="384179"/>
                </a:cubicBezTo>
                <a:cubicBezTo>
                  <a:pt x="94361" y="382806"/>
                  <a:pt x="94082" y="381420"/>
                  <a:pt x="93826" y="380046"/>
                </a:cubicBezTo>
                <a:cubicBezTo>
                  <a:pt x="93535" y="378551"/>
                  <a:pt x="93267" y="377044"/>
                  <a:pt x="93012" y="375537"/>
                </a:cubicBezTo>
                <a:cubicBezTo>
                  <a:pt x="92708" y="373774"/>
                  <a:pt x="92416" y="372012"/>
                  <a:pt x="92161" y="370237"/>
                </a:cubicBezTo>
                <a:cubicBezTo>
                  <a:pt x="91991" y="369119"/>
                  <a:pt x="91833" y="367976"/>
                  <a:pt x="91675" y="366846"/>
                </a:cubicBezTo>
                <a:cubicBezTo>
                  <a:pt x="91517" y="365691"/>
                  <a:pt x="91371" y="364548"/>
                  <a:pt x="91237" y="363394"/>
                </a:cubicBezTo>
                <a:cubicBezTo>
                  <a:pt x="91128" y="362543"/>
                  <a:pt x="91031" y="361680"/>
                  <a:pt x="90946" y="360817"/>
                </a:cubicBezTo>
                <a:cubicBezTo>
                  <a:pt x="90800" y="359625"/>
                  <a:pt x="90690" y="358446"/>
                  <a:pt x="90581" y="357255"/>
                </a:cubicBezTo>
                <a:cubicBezTo>
                  <a:pt x="90314" y="354557"/>
                  <a:pt x="90107" y="351846"/>
                  <a:pt x="89949" y="349123"/>
                </a:cubicBezTo>
                <a:cubicBezTo>
                  <a:pt x="89937" y="349038"/>
                  <a:pt x="89937" y="348941"/>
                  <a:pt x="89937" y="348868"/>
                </a:cubicBezTo>
                <a:cubicBezTo>
                  <a:pt x="89876" y="347944"/>
                  <a:pt x="89827" y="347033"/>
                  <a:pt x="89779" y="346109"/>
                </a:cubicBezTo>
                <a:cubicBezTo>
                  <a:pt x="89742" y="345537"/>
                  <a:pt x="89718" y="344942"/>
                  <a:pt x="89706" y="344371"/>
                </a:cubicBezTo>
                <a:cubicBezTo>
                  <a:pt x="89682" y="343836"/>
                  <a:pt x="89657" y="343289"/>
                  <a:pt x="89645" y="342742"/>
                </a:cubicBezTo>
                <a:cubicBezTo>
                  <a:pt x="89596" y="341356"/>
                  <a:pt x="89560" y="339958"/>
                  <a:pt x="89536" y="338560"/>
                </a:cubicBezTo>
                <a:cubicBezTo>
                  <a:pt x="89499" y="336992"/>
                  <a:pt x="89487" y="335424"/>
                  <a:pt x="89487" y="333832"/>
                </a:cubicBezTo>
                <a:cubicBezTo>
                  <a:pt x="89487" y="332896"/>
                  <a:pt x="89499" y="331960"/>
                  <a:pt x="89499" y="331024"/>
                </a:cubicBezTo>
                <a:cubicBezTo>
                  <a:pt x="89511" y="330088"/>
                  <a:pt x="89523" y="329164"/>
                  <a:pt x="89548" y="328228"/>
                </a:cubicBezTo>
                <a:cubicBezTo>
                  <a:pt x="89596" y="326259"/>
                  <a:pt x="89657" y="324302"/>
                  <a:pt x="89767" y="322345"/>
                </a:cubicBezTo>
                <a:cubicBezTo>
                  <a:pt x="89803" y="321361"/>
                  <a:pt x="89852" y="320376"/>
                  <a:pt x="89925" y="319404"/>
                </a:cubicBezTo>
                <a:cubicBezTo>
                  <a:pt x="90022" y="317447"/>
                  <a:pt x="90168" y="315514"/>
                  <a:pt x="90338" y="313569"/>
                </a:cubicBezTo>
                <a:cubicBezTo>
                  <a:pt x="90435" y="312305"/>
                  <a:pt x="90557" y="311053"/>
                  <a:pt x="90678" y="309801"/>
                </a:cubicBezTo>
                <a:cubicBezTo>
                  <a:pt x="90836" y="308160"/>
                  <a:pt x="91006" y="306519"/>
                  <a:pt x="91201" y="304890"/>
                </a:cubicBezTo>
                <a:cubicBezTo>
                  <a:pt x="91298" y="304027"/>
                  <a:pt x="91408" y="303152"/>
                  <a:pt x="91517" y="302301"/>
                </a:cubicBezTo>
                <a:cubicBezTo>
                  <a:pt x="91736" y="300563"/>
                  <a:pt x="91979" y="298837"/>
                  <a:pt x="92246" y="297135"/>
                </a:cubicBezTo>
                <a:cubicBezTo>
                  <a:pt x="92502" y="295409"/>
                  <a:pt x="92769" y="293707"/>
                  <a:pt x="93073" y="291994"/>
                </a:cubicBezTo>
                <a:cubicBezTo>
                  <a:pt x="93352" y="290292"/>
                  <a:pt x="93668" y="288590"/>
                  <a:pt x="94009" y="286901"/>
                </a:cubicBezTo>
                <a:cubicBezTo>
                  <a:pt x="94665" y="283521"/>
                  <a:pt x="95382" y="280154"/>
                  <a:pt x="96197" y="276812"/>
                </a:cubicBezTo>
                <a:cubicBezTo>
                  <a:pt x="96391" y="275985"/>
                  <a:pt x="96598" y="275146"/>
                  <a:pt x="96804" y="274308"/>
                </a:cubicBezTo>
                <a:cubicBezTo>
                  <a:pt x="97011" y="273481"/>
                  <a:pt x="97218" y="272667"/>
                  <a:pt x="97437" y="271828"/>
                </a:cubicBezTo>
                <a:cubicBezTo>
                  <a:pt x="97643" y="271001"/>
                  <a:pt x="97862" y="270187"/>
                  <a:pt x="98105" y="269348"/>
                </a:cubicBezTo>
                <a:cubicBezTo>
                  <a:pt x="98324" y="268522"/>
                  <a:pt x="98555" y="267707"/>
                  <a:pt x="98786" y="266869"/>
                </a:cubicBezTo>
                <a:cubicBezTo>
                  <a:pt x="99017" y="266054"/>
                  <a:pt x="99260" y="265240"/>
                  <a:pt x="99503" y="264413"/>
                </a:cubicBezTo>
                <a:cubicBezTo>
                  <a:pt x="99977" y="262784"/>
                  <a:pt x="100475" y="261156"/>
                  <a:pt x="100998" y="259539"/>
                </a:cubicBezTo>
                <a:cubicBezTo>
                  <a:pt x="101521" y="257922"/>
                  <a:pt x="102043" y="256306"/>
                  <a:pt x="102603" y="254701"/>
                </a:cubicBezTo>
                <a:cubicBezTo>
                  <a:pt x="103137" y="253097"/>
                  <a:pt x="103709" y="251492"/>
                  <a:pt x="104292" y="249912"/>
                </a:cubicBezTo>
                <a:cubicBezTo>
                  <a:pt x="105374" y="246934"/>
                  <a:pt x="106529" y="243992"/>
                  <a:pt x="107720" y="241063"/>
                </a:cubicBezTo>
                <a:cubicBezTo>
                  <a:pt x="107805" y="240832"/>
                  <a:pt x="107914" y="240601"/>
                  <a:pt x="107999" y="240370"/>
                </a:cubicBezTo>
                <a:cubicBezTo>
                  <a:pt x="108619" y="238839"/>
                  <a:pt x="109276" y="237331"/>
                  <a:pt x="109944" y="235824"/>
                </a:cubicBezTo>
                <a:cubicBezTo>
                  <a:pt x="111281" y="232749"/>
                  <a:pt x="112704" y="229698"/>
                  <a:pt x="114174" y="226683"/>
                </a:cubicBezTo>
                <a:cubicBezTo>
                  <a:pt x="114661" y="225674"/>
                  <a:pt x="115159" y="224678"/>
                  <a:pt x="115682" y="223681"/>
                </a:cubicBezTo>
                <a:cubicBezTo>
                  <a:pt x="116168" y="222672"/>
                  <a:pt x="116690" y="221675"/>
                  <a:pt x="117213" y="220691"/>
                </a:cubicBezTo>
                <a:cubicBezTo>
                  <a:pt x="117724" y="219694"/>
                  <a:pt x="118246" y="218710"/>
                  <a:pt x="118781" y="217737"/>
                </a:cubicBezTo>
                <a:cubicBezTo>
                  <a:pt x="119267" y="216813"/>
                  <a:pt x="119766" y="215914"/>
                  <a:pt x="120276" y="215002"/>
                </a:cubicBezTo>
                <a:cubicBezTo>
                  <a:pt x="120848" y="213969"/>
                  <a:pt x="121443" y="212936"/>
                  <a:pt x="122039" y="211903"/>
                </a:cubicBezTo>
                <a:cubicBezTo>
                  <a:pt x="122671" y="210796"/>
                  <a:pt x="123315" y="209690"/>
                  <a:pt x="123984" y="208596"/>
                </a:cubicBezTo>
                <a:cubicBezTo>
                  <a:pt x="124470" y="207794"/>
                  <a:pt x="124956" y="206980"/>
                  <a:pt x="125454" y="206165"/>
                </a:cubicBezTo>
                <a:lnTo>
                  <a:pt x="127217" y="203333"/>
                </a:lnTo>
                <a:cubicBezTo>
                  <a:pt x="128591" y="201133"/>
                  <a:pt x="130025" y="198982"/>
                  <a:pt x="131471" y="196842"/>
                </a:cubicBezTo>
                <a:cubicBezTo>
                  <a:pt x="132152" y="195845"/>
                  <a:pt x="132833" y="194849"/>
                  <a:pt x="133526" y="193864"/>
                </a:cubicBezTo>
                <a:cubicBezTo>
                  <a:pt x="134255" y="192831"/>
                  <a:pt x="134984" y="191798"/>
                  <a:pt x="135726" y="190777"/>
                </a:cubicBezTo>
                <a:cubicBezTo>
                  <a:pt x="136467" y="189756"/>
                  <a:pt x="137209" y="188735"/>
                  <a:pt x="137974" y="187726"/>
                </a:cubicBezTo>
                <a:cubicBezTo>
                  <a:pt x="138521" y="186984"/>
                  <a:pt x="139068" y="186255"/>
                  <a:pt x="139640" y="185526"/>
                </a:cubicBezTo>
                <a:cubicBezTo>
                  <a:pt x="140612" y="184249"/>
                  <a:pt x="141609" y="182973"/>
                  <a:pt x="142605" y="181721"/>
                </a:cubicBezTo>
                <a:cubicBezTo>
                  <a:pt x="143396" y="180724"/>
                  <a:pt x="144186" y="179740"/>
                  <a:pt x="144988" y="178767"/>
                </a:cubicBezTo>
                <a:cubicBezTo>
                  <a:pt x="147382" y="175850"/>
                  <a:pt x="149850" y="172969"/>
                  <a:pt x="152378" y="170174"/>
                </a:cubicBezTo>
                <a:cubicBezTo>
                  <a:pt x="153217" y="169225"/>
                  <a:pt x="154080" y="168302"/>
                  <a:pt x="154943" y="167378"/>
                </a:cubicBezTo>
                <a:cubicBezTo>
                  <a:pt x="155782" y="166442"/>
                  <a:pt x="156657" y="165542"/>
                  <a:pt x="157532" y="164631"/>
                </a:cubicBezTo>
                <a:cubicBezTo>
                  <a:pt x="158395" y="163707"/>
                  <a:pt x="159270" y="162820"/>
                  <a:pt x="160158" y="161920"/>
                </a:cubicBezTo>
                <a:cubicBezTo>
                  <a:pt x="161726" y="160340"/>
                  <a:pt x="163306" y="158784"/>
                  <a:pt x="164923" y="157240"/>
                </a:cubicBezTo>
                <a:cubicBezTo>
                  <a:pt x="165421" y="156766"/>
                  <a:pt x="165919" y="156292"/>
                  <a:pt x="166418" y="155830"/>
                </a:cubicBezTo>
                <a:cubicBezTo>
                  <a:pt x="167062" y="155223"/>
                  <a:pt x="167694" y="154615"/>
                  <a:pt x="168338" y="154044"/>
                </a:cubicBezTo>
                <a:cubicBezTo>
                  <a:pt x="169165" y="153266"/>
                  <a:pt x="170016" y="152500"/>
                  <a:pt x="170866" y="151746"/>
                </a:cubicBezTo>
                <a:cubicBezTo>
                  <a:pt x="172836" y="149972"/>
                  <a:pt x="174829" y="148245"/>
                  <a:pt x="176847" y="146556"/>
                </a:cubicBezTo>
                <a:cubicBezTo>
                  <a:pt x="177807" y="145742"/>
                  <a:pt x="178780" y="144939"/>
                  <a:pt x="179752" y="144149"/>
                </a:cubicBezTo>
                <a:cubicBezTo>
                  <a:pt x="180882" y="143213"/>
                  <a:pt x="182025" y="142302"/>
                  <a:pt x="183180" y="141390"/>
                </a:cubicBezTo>
                <a:cubicBezTo>
                  <a:pt x="183873" y="140855"/>
                  <a:pt x="184553" y="140320"/>
                  <a:pt x="185258" y="139785"/>
                </a:cubicBezTo>
                <a:cubicBezTo>
                  <a:pt x="190461" y="135786"/>
                  <a:pt x="195845" y="131994"/>
                  <a:pt x="201364" y="128408"/>
                </a:cubicBezTo>
                <a:cubicBezTo>
                  <a:pt x="202361" y="127764"/>
                  <a:pt x="203370" y="127132"/>
                  <a:pt x="204378" y="126512"/>
                </a:cubicBezTo>
                <a:cubicBezTo>
                  <a:pt x="205193" y="125989"/>
                  <a:pt x="206020" y="125479"/>
                  <a:pt x="206858" y="124980"/>
                </a:cubicBezTo>
                <a:cubicBezTo>
                  <a:pt x="207454" y="124616"/>
                  <a:pt x="208062" y="124239"/>
                  <a:pt x="208657" y="123886"/>
                </a:cubicBezTo>
                <a:cubicBezTo>
                  <a:pt x="210480" y="122805"/>
                  <a:pt x="212316" y="121735"/>
                  <a:pt x="214188" y="120677"/>
                </a:cubicBezTo>
                <a:cubicBezTo>
                  <a:pt x="215294" y="120057"/>
                  <a:pt x="216412" y="119438"/>
                  <a:pt x="217518" y="118842"/>
                </a:cubicBezTo>
                <a:cubicBezTo>
                  <a:pt x="218637" y="118234"/>
                  <a:pt x="219767" y="117626"/>
                  <a:pt x="220885" y="117043"/>
                </a:cubicBezTo>
                <a:cubicBezTo>
                  <a:pt x="222903" y="115985"/>
                  <a:pt x="224933" y="114964"/>
                  <a:pt x="226987" y="113968"/>
                </a:cubicBezTo>
                <a:cubicBezTo>
                  <a:pt x="228495" y="113226"/>
                  <a:pt x="230002" y="112509"/>
                  <a:pt x="231533" y="111816"/>
                </a:cubicBezTo>
                <a:cubicBezTo>
                  <a:pt x="232567" y="111330"/>
                  <a:pt x="233600" y="110856"/>
                  <a:pt x="234645" y="110394"/>
                </a:cubicBezTo>
                <a:cubicBezTo>
                  <a:pt x="235812" y="109871"/>
                  <a:pt x="236979" y="109361"/>
                  <a:pt x="238158" y="108862"/>
                </a:cubicBezTo>
                <a:cubicBezTo>
                  <a:pt x="239544" y="108267"/>
                  <a:pt x="240954" y="107683"/>
                  <a:pt x="242376" y="107112"/>
                </a:cubicBezTo>
                <a:cubicBezTo>
                  <a:pt x="243348" y="106711"/>
                  <a:pt x="244321" y="106334"/>
                  <a:pt x="245281" y="105957"/>
                </a:cubicBezTo>
                <a:cubicBezTo>
                  <a:pt x="247663" y="105021"/>
                  <a:pt x="250070" y="104134"/>
                  <a:pt x="252489" y="103271"/>
                </a:cubicBezTo>
                <a:cubicBezTo>
                  <a:pt x="253364" y="102955"/>
                  <a:pt x="254264" y="102651"/>
                  <a:pt x="255139" y="102347"/>
                </a:cubicBezTo>
                <a:cubicBezTo>
                  <a:pt x="255990" y="102056"/>
                  <a:pt x="256853" y="101764"/>
                  <a:pt x="257716" y="101496"/>
                </a:cubicBezTo>
                <a:cubicBezTo>
                  <a:pt x="258433" y="101253"/>
                  <a:pt x="259150" y="101022"/>
                  <a:pt x="259855" y="100791"/>
                </a:cubicBezTo>
                <a:cubicBezTo>
                  <a:pt x="260791" y="100500"/>
                  <a:pt x="261715" y="100208"/>
                  <a:pt x="262651" y="99928"/>
                </a:cubicBezTo>
                <a:cubicBezTo>
                  <a:pt x="264377" y="99406"/>
                  <a:pt x="266115" y="98895"/>
                  <a:pt x="267841" y="98409"/>
                </a:cubicBezTo>
                <a:cubicBezTo>
                  <a:pt x="268862" y="98117"/>
                  <a:pt x="269883" y="97838"/>
                  <a:pt x="270916" y="97582"/>
                </a:cubicBezTo>
                <a:cubicBezTo>
                  <a:pt x="270965" y="97558"/>
                  <a:pt x="271014" y="97546"/>
                  <a:pt x="271087" y="97534"/>
                </a:cubicBezTo>
                <a:cubicBezTo>
                  <a:pt x="272302" y="97206"/>
                  <a:pt x="273542" y="96902"/>
                  <a:pt x="274757" y="96586"/>
                </a:cubicBezTo>
                <a:cubicBezTo>
                  <a:pt x="275620" y="96367"/>
                  <a:pt x="276496" y="96148"/>
                  <a:pt x="277371" y="95954"/>
                </a:cubicBezTo>
                <a:cubicBezTo>
                  <a:pt x="277675" y="95881"/>
                  <a:pt x="277991" y="95796"/>
                  <a:pt x="278319" y="95735"/>
                </a:cubicBezTo>
                <a:cubicBezTo>
                  <a:pt x="279255" y="95516"/>
                  <a:pt x="280179" y="95297"/>
                  <a:pt x="281115" y="95103"/>
                </a:cubicBezTo>
                <a:cubicBezTo>
                  <a:pt x="281188" y="95078"/>
                  <a:pt x="281273" y="95066"/>
                  <a:pt x="281346" y="95054"/>
                </a:cubicBezTo>
                <a:cubicBezTo>
                  <a:pt x="282269" y="94847"/>
                  <a:pt x="283181" y="94653"/>
                  <a:pt x="284105" y="94471"/>
                </a:cubicBezTo>
                <a:cubicBezTo>
                  <a:pt x="284226" y="94446"/>
                  <a:pt x="284360" y="94422"/>
                  <a:pt x="284494" y="94398"/>
                </a:cubicBezTo>
                <a:cubicBezTo>
                  <a:pt x="285430" y="94203"/>
                  <a:pt x="286354" y="94009"/>
                  <a:pt x="287302" y="93839"/>
                </a:cubicBezTo>
                <a:cubicBezTo>
                  <a:pt x="288238" y="93656"/>
                  <a:pt x="289161" y="93486"/>
                  <a:pt x="290097" y="93316"/>
                </a:cubicBezTo>
                <a:cubicBezTo>
                  <a:pt x="291179" y="93109"/>
                  <a:pt x="292285" y="92927"/>
                  <a:pt x="293367" y="92745"/>
                </a:cubicBezTo>
                <a:cubicBezTo>
                  <a:pt x="293756" y="92684"/>
                  <a:pt x="294121" y="92611"/>
                  <a:pt x="294485" y="92562"/>
                </a:cubicBezTo>
                <a:cubicBezTo>
                  <a:pt x="295567" y="92380"/>
                  <a:pt x="296673" y="92222"/>
                  <a:pt x="297755" y="92064"/>
                </a:cubicBezTo>
                <a:cubicBezTo>
                  <a:pt x="297852" y="92040"/>
                  <a:pt x="297974" y="92027"/>
                  <a:pt x="298071" y="92015"/>
                </a:cubicBezTo>
                <a:cubicBezTo>
                  <a:pt x="299311" y="91821"/>
                  <a:pt x="300563" y="91663"/>
                  <a:pt x="301815" y="91493"/>
                </a:cubicBezTo>
                <a:cubicBezTo>
                  <a:pt x="303091" y="91322"/>
                  <a:pt x="304355" y="91164"/>
                  <a:pt x="305644" y="91019"/>
                </a:cubicBezTo>
                <a:cubicBezTo>
                  <a:pt x="305680" y="91006"/>
                  <a:pt x="305717" y="91006"/>
                  <a:pt x="305778" y="91006"/>
                </a:cubicBezTo>
                <a:cubicBezTo>
                  <a:pt x="307090" y="90848"/>
                  <a:pt x="308403" y="90715"/>
                  <a:pt x="309740" y="90581"/>
                </a:cubicBezTo>
                <a:cubicBezTo>
                  <a:pt x="310688" y="90484"/>
                  <a:pt x="311636" y="90386"/>
                  <a:pt x="312597" y="90314"/>
                </a:cubicBezTo>
                <a:cubicBezTo>
                  <a:pt x="313387" y="90253"/>
                  <a:pt x="314177" y="90168"/>
                  <a:pt x="314967" y="90119"/>
                </a:cubicBezTo>
                <a:cubicBezTo>
                  <a:pt x="318747" y="89827"/>
                  <a:pt x="322552" y="89621"/>
                  <a:pt x="326381" y="89511"/>
                </a:cubicBezTo>
                <a:cubicBezTo>
                  <a:pt x="327438" y="89475"/>
                  <a:pt x="328496" y="89451"/>
                  <a:pt x="329578" y="89438"/>
                </a:cubicBezTo>
                <a:cubicBezTo>
                  <a:pt x="331024" y="89414"/>
                  <a:pt x="332458" y="89402"/>
                  <a:pt x="333917" y="89402"/>
                </a:cubicBezTo>
                <a:cubicBezTo>
                  <a:pt x="337795" y="89402"/>
                  <a:pt x="341660" y="89499"/>
                  <a:pt x="345501" y="89681"/>
                </a:cubicBezTo>
                <a:cubicBezTo>
                  <a:pt x="372850" y="90958"/>
                  <a:pt x="399021" y="96744"/>
                  <a:pt x="423295" y="106286"/>
                </a:cubicBezTo>
                <a:cubicBezTo>
                  <a:pt x="424279" y="106662"/>
                  <a:pt x="425264" y="107063"/>
                  <a:pt x="426236" y="107477"/>
                </a:cubicBezTo>
                <a:cubicBezTo>
                  <a:pt x="427038" y="107793"/>
                  <a:pt x="427829" y="108133"/>
                  <a:pt x="428607" y="108461"/>
                </a:cubicBezTo>
                <a:cubicBezTo>
                  <a:pt x="429737" y="108935"/>
                  <a:pt x="430867" y="109422"/>
                  <a:pt x="431986" y="109908"/>
                </a:cubicBezTo>
                <a:cubicBezTo>
                  <a:pt x="433140" y="110418"/>
                  <a:pt x="434283" y="110929"/>
                  <a:pt x="435413" y="111452"/>
                </a:cubicBezTo>
                <a:cubicBezTo>
                  <a:pt x="438063" y="112667"/>
                  <a:pt x="440701" y="113919"/>
                  <a:pt x="443302" y="115232"/>
                </a:cubicBezTo>
                <a:cubicBezTo>
                  <a:pt x="444226" y="115694"/>
                  <a:pt x="445150" y="116168"/>
                  <a:pt x="446074" y="116654"/>
                </a:cubicBezTo>
                <a:cubicBezTo>
                  <a:pt x="446997" y="117128"/>
                  <a:pt x="447921" y="117614"/>
                  <a:pt x="448833" y="118100"/>
                </a:cubicBezTo>
                <a:cubicBezTo>
                  <a:pt x="449915" y="118684"/>
                  <a:pt x="451009" y="119280"/>
                  <a:pt x="452078" y="119863"/>
                </a:cubicBezTo>
                <a:cubicBezTo>
                  <a:pt x="453245" y="120519"/>
                  <a:pt x="454400" y="121164"/>
                  <a:pt x="455555" y="121832"/>
                </a:cubicBezTo>
                <a:cubicBezTo>
                  <a:pt x="466397" y="128056"/>
                  <a:pt x="476717" y="135094"/>
                  <a:pt x="486417" y="142873"/>
                </a:cubicBezTo>
                <a:cubicBezTo>
                  <a:pt x="487122" y="143432"/>
                  <a:pt x="487827" y="143991"/>
                  <a:pt x="488508" y="144575"/>
                </a:cubicBezTo>
                <a:cubicBezTo>
                  <a:pt x="489796" y="145608"/>
                  <a:pt x="491060" y="146665"/>
                  <a:pt x="492312" y="147735"/>
                </a:cubicBezTo>
                <a:cubicBezTo>
                  <a:pt x="493090" y="148404"/>
                  <a:pt x="493868" y="149072"/>
                  <a:pt x="494646" y="149753"/>
                </a:cubicBezTo>
                <a:cubicBezTo>
                  <a:pt x="495424" y="150433"/>
                  <a:pt x="496190" y="151102"/>
                  <a:pt x="496956" y="151795"/>
                </a:cubicBezTo>
                <a:cubicBezTo>
                  <a:pt x="498511" y="153168"/>
                  <a:pt x="500031" y="154578"/>
                  <a:pt x="501538" y="156013"/>
                </a:cubicBezTo>
                <a:cubicBezTo>
                  <a:pt x="502280" y="156706"/>
                  <a:pt x="503021" y="157398"/>
                  <a:pt x="503750" y="158116"/>
                </a:cubicBezTo>
                <a:cubicBezTo>
                  <a:pt x="504492" y="158833"/>
                  <a:pt x="505233" y="159550"/>
                  <a:pt x="505963" y="160267"/>
                </a:cubicBezTo>
                <a:cubicBezTo>
                  <a:pt x="506668" y="160960"/>
                  <a:pt x="507348" y="161653"/>
                  <a:pt x="508041" y="162358"/>
                </a:cubicBezTo>
                <a:cubicBezTo>
                  <a:pt x="508734" y="163051"/>
                  <a:pt x="509415" y="163768"/>
                  <a:pt x="510095" y="164461"/>
                </a:cubicBezTo>
                <a:cubicBezTo>
                  <a:pt x="511955" y="166393"/>
                  <a:pt x="513778" y="168350"/>
                  <a:pt x="515589" y="170344"/>
                </a:cubicBezTo>
                <a:cubicBezTo>
                  <a:pt x="516416" y="171280"/>
                  <a:pt x="517243" y="172203"/>
                  <a:pt x="518081" y="173152"/>
                </a:cubicBezTo>
                <a:cubicBezTo>
                  <a:pt x="518288" y="173395"/>
                  <a:pt x="518507" y="173638"/>
                  <a:pt x="518701" y="173881"/>
                </a:cubicBezTo>
                <a:cubicBezTo>
                  <a:pt x="519321" y="174610"/>
                  <a:pt x="519953" y="175340"/>
                  <a:pt x="520573" y="176081"/>
                </a:cubicBezTo>
                <a:cubicBezTo>
                  <a:pt x="521023" y="176604"/>
                  <a:pt x="521448" y="177126"/>
                  <a:pt x="521886" y="177649"/>
                </a:cubicBezTo>
                <a:cubicBezTo>
                  <a:pt x="527550" y="184456"/>
                  <a:pt x="532850" y="191579"/>
                  <a:pt x="537761" y="198969"/>
                </a:cubicBezTo>
                <a:cubicBezTo>
                  <a:pt x="538466" y="200027"/>
                  <a:pt x="539146" y="201097"/>
                  <a:pt x="539839" y="202178"/>
                </a:cubicBezTo>
                <a:cubicBezTo>
                  <a:pt x="541334" y="204524"/>
                  <a:pt x="542805" y="206882"/>
                  <a:pt x="544215" y="209277"/>
                </a:cubicBezTo>
                <a:cubicBezTo>
                  <a:pt x="544677" y="210043"/>
                  <a:pt x="545127" y="210809"/>
                  <a:pt x="545552" y="211574"/>
                </a:cubicBezTo>
                <a:cubicBezTo>
                  <a:pt x="546585" y="213349"/>
                  <a:pt x="547594" y="215136"/>
                  <a:pt x="548579" y="216935"/>
                </a:cubicBezTo>
                <a:cubicBezTo>
                  <a:pt x="549016" y="217737"/>
                  <a:pt x="549442" y="218551"/>
                  <a:pt x="549880" y="219366"/>
                </a:cubicBezTo>
                <a:cubicBezTo>
                  <a:pt x="550706" y="220934"/>
                  <a:pt x="551521" y="222502"/>
                  <a:pt x="552335" y="224106"/>
                </a:cubicBezTo>
                <a:cubicBezTo>
                  <a:pt x="553003" y="225444"/>
                  <a:pt x="553660" y="226793"/>
                  <a:pt x="554316" y="228142"/>
                </a:cubicBezTo>
                <a:cubicBezTo>
                  <a:pt x="554620" y="228762"/>
                  <a:pt x="554924" y="229406"/>
                  <a:pt x="555228" y="230026"/>
                </a:cubicBezTo>
                <a:cubicBezTo>
                  <a:pt x="555653" y="230938"/>
                  <a:pt x="556067" y="231825"/>
                  <a:pt x="556480" y="232737"/>
                </a:cubicBezTo>
                <a:cubicBezTo>
                  <a:pt x="556893" y="233648"/>
                  <a:pt x="557294" y="234536"/>
                  <a:pt x="557695" y="235447"/>
                </a:cubicBezTo>
                <a:cubicBezTo>
                  <a:pt x="557707" y="235472"/>
                  <a:pt x="557720" y="235508"/>
                  <a:pt x="557732" y="235532"/>
                </a:cubicBezTo>
                <a:cubicBezTo>
                  <a:pt x="558522" y="237331"/>
                  <a:pt x="559288" y="239142"/>
                  <a:pt x="560041" y="240966"/>
                </a:cubicBezTo>
                <a:cubicBezTo>
                  <a:pt x="560430" y="241902"/>
                  <a:pt x="560807" y="242813"/>
                  <a:pt x="561160" y="243749"/>
                </a:cubicBezTo>
                <a:cubicBezTo>
                  <a:pt x="561524" y="244685"/>
                  <a:pt x="561901" y="245609"/>
                  <a:pt x="562254" y="246545"/>
                </a:cubicBezTo>
                <a:cubicBezTo>
                  <a:pt x="562606" y="247481"/>
                  <a:pt x="562959" y="248417"/>
                  <a:pt x="563299" y="249353"/>
                </a:cubicBezTo>
                <a:cubicBezTo>
                  <a:pt x="563651" y="250301"/>
                  <a:pt x="563992" y="251237"/>
                  <a:pt x="564320" y="252185"/>
                </a:cubicBezTo>
                <a:cubicBezTo>
                  <a:pt x="564818" y="253583"/>
                  <a:pt x="565305" y="254993"/>
                  <a:pt x="565779" y="256415"/>
                </a:cubicBezTo>
                <a:cubicBezTo>
                  <a:pt x="566107" y="257388"/>
                  <a:pt x="566435" y="258360"/>
                  <a:pt x="566739" y="259332"/>
                </a:cubicBezTo>
                <a:cubicBezTo>
                  <a:pt x="567031" y="260256"/>
                  <a:pt x="567310" y="261156"/>
                  <a:pt x="567590" y="262079"/>
                </a:cubicBezTo>
                <a:cubicBezTo>
                  <a:pt x="568015" y="263392"/>
                  <a:pt x="568392" y="264693"/>
                  <a:pt x="568769" y="266018"/>
                </a:cubicBezTo>
                <a:cubicBezTo>
                  <a:pt x="568866" y="266346"/>
                  <a:pt x="568963" y="266686"/>
                  <a:pt x="569060" y="267027"/>
                </a:cubicBezTo>
                <a:cubicBezTo>
                  <a:pt x="569291" y="267841"/>
                  <a:pt x="569522" y="268655"/>
                  <a:pt x="569741" y="269494"/>
                </a:cubicBezTo>
                <a:cubicBezTo>
                  <a:pt x="570288" y="271451"/>
                  <a:pt x="570799" y="273396"/>
                  <a:pt x="571273" y="275377"/>
                </a:cubicBezTo>
                <a:cubicBezTo>
                  <a:pt x="571759" y="277347"/>
                  <a:pt x="572221" y="279316"/>
                  <a:pt x="572646" y="281309"/>
                </a:cubicBezTo>
                <a:cubicBezTo>
                  <a:pt x="572865" y="282306"/>
                  <a:pt x="573084" y="283303"/>
                  <a:pt x="573291" y="284311"/>
                </a:cubicBezTo>
                <a:cubicBezTo>
                  <a:pt x="573497" y="285308"/>
                  <a:pt x="573692" y="286317"/>
                  <a:pt x="573886" y="287314"/>
                </a:cubicBezTo>
                <a:cubicBezTo>
                  <a:pt x="574081" y="288323"/>
                  <a:pt x="574251" y="289332"/>
                  <a:pt x="574445" y="290340"/>
                </a:cubicBezTo>
                <a:cubicBezTo>
                  <a:pt x="574615" y="291313"/>
                  <a:pt x="574774" y="292285"/>
                  <a:pt x="574956" y="293246"/>
                </a:cubicBezTo>
                <a:cubicBezTo>
                  <a:pt x="574956" y="293331"/>
                  <a:pt x="574968" y="293416"/>
                  <a:pt x="574992" y="293501"/>
                </a:cubicBezTo>
                <a:cubicBezTo>
                  <a:pt x="575150" y="294473"/>
                  <a:pt x="575296" y="295446"/>
                  <a:pt x="575454" y="296406"/>
                </a:cubicBezTo>
                <a:cubicBezTo>
                  <a:pt x="575612" y="297415"/>
                  <a:pt x="575758" y="298436"/>
                  <a:pt x="575904" y="299457"/>
                </a:cubicBezTo>
                <a:cubicBezTo>
                  <a:pt x="576050" y="300478"/>
                  <a:pt x="576184" y="301499"/>
                  <a:pt x="576317" y="302532"/>
                </a:cubicBezTo>
                <a:cubicBezTo>
                  <a:pt x="576585" y="304574"/>
                  <a:pt x="576816" y="306628"/>
                  <a:pt x="577034" y="308695"/>
                </a:cubicBezTo>
                <a:cubicBezTo>
                  <a:pt x="577132" y="309728"/>
                  <a:pt x="577241" y="310761"/>
                  <a:pt x="577326" y="311794"/>
                </a:cubicBezTo>
                <a:cubicBezTo>
                  <a:pt x="577508" y="313727"/>
                  <a:pt x="577654" y="315660"/>
                  <a:pt x="577788" y="317605"/>
                </a:cubicBezTo>
                <a:cubicBezTo>
                  <a:pt x="577788" y="317799"/>
                  <a:pt x="577800" y="317969"/>
                  <a:pt x="577812" y="318152"/>
                </a:cubicBezTo>
                <a:cubicBezTo>
                  <a:pt x="577873" y="319027"/>
                  <a:pt x="577922" y="319902"/>
                  <a:pt x="577970" y="320777"/>
                </a:cubicBezTo>
                <a:cubicBezTo>
                  <a:pt x="577995" y="321251"/>
                  <a:pt x="578019" y="321737"/>
                  <a:pt x="578043" y="322212"/>
                </a:cubicBezTo>
                <a:cubicBezTo>
                  <a:pt x="578080" y="322917"/>
                  <a:pt x="578116" y="323622"/>
                  <a:pt x="578128" y="324327"/>
                </a:cubicBezTo>
                <a:cubicBezTo>
                  <a:pt x="578165" y="325518"/>
                  <a:pt x="578201" y="326709"/>
                  <a:pt x="578238" y="327912"/>
                </a:cubicBezTo>
                <a:cubicBezTo>
                  <a:pt x="578250" y="328824"/>
                  <a:pt x="578274" y="329736"/>
                  <a:pt x="578274" y="330647"/>
                </a:cubicBezTo>
                <a:cubicBezTo>
                  <a:pt x="578286" y="331705"/>
                  <a:pt x="578299" y="332762"/>
                  <a:pt x="578299" y="333820"/>
                </a:cubicBezTo>
                <a:cubicBezTo>
                  <a:pt x="578299" y="334877"/>
                  <a:pt x="578286" y="335935"/>
                  <a:pt x="578274" y="336992"/>
                </a:cubicBezTo>
                <a:cubicBezTo>
                  <a:pt x="578274" y="337904"/>
                  <a:pt x="578250" y="338816"/>
                  <a:pt x="578238" y="339727"/>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2" name="Freeform: Shape 91">
            <a:extLst>
              <a:ext uri="{FF2B5EF4-FFF2-40B4-BE49-F238E27FC236}">
                <a16:creationId xmlns:a16="http://schemas.microsoft.com/office/drawing/2014/main" id="{6B8D33EF-2E55-8B48-D0EE-6F4878980C14}"/>
              </a:ext>
            </a:extLst>
          </p:cNvPr>
          <p:cNvSpPr/>
          <p:nvPr/>
        </p:nvSpPr>
        <p:spPr>
          <a:xfrm>
            <a:off x="11410167" y="1994110"/>
            <a:ext cx="246085" cy="239697"/>
          </a:xfrm>
          <a:custGeom>
            <a:avLst/>
            <a:gdLst>
              <a:gd name="connsiteX0" fmla="*/ 488751 w 488799"/>
              <a:gd name="connsiteY0" fmla="*/ 238510 h 488823"/>
              <a:gd name="connsiteX1" fmla="*/ 488641 w 488799"/>
              <a:gd name="connsiteY1" fmla="*/ 234925 h 488823"/>
              <a:gd name="connsiteX2" fmla="*/ 488556 w 488799"/>
              <a:gd name="connsiteY2" fmla="*/ 232810 h 488823"/>
              <a:gd name="connsiteX3" fmla="*/ 488483 w 488799"/>
              <a:gd name="connsiteY3" fmla="*/ 231375 h 488823"/>
              <a:gd name="connsiteX4" fmla="*/ 488325 w 488799"/>
              <a:gd name="connsiteY4" fmla="*/ 228750 h 488823"/>
              <a:gd name="connsiteX5" fmla="*/ 488301 w 488799"/>
              <a:gd name="connsiteY5" fmla="*/ 228203 h 488823"/>
              <a:gd name="connsiteX6" fmla="*/ 487839 w 488799"/>
              <a:gd name="connsiteY6" fmla="*/ 222393 h 488823"/>
              <a:gd name="connsiteX7" fmla="*/ 487547 w 488799"/>
              <a:gd name="connsiteY7" fmla="*/ 219293 h 488823"/>
              <a:gd name="connsiteX8" fmla="*/ 486830 w 488799"/>
              <a:gd name="connsiteY8" fmla="*/ 213130 h 488823"/>
              <a:gd name="connsiteX9" fmla="*/ 486417 w 488799"/>
              <a:gd name="connsiteY9" fmla="*/ 210055 h 488823"/>
              <a:gd name="connsiteX10" fmla="*/ 485967 w 488799"/>
              <a:gd name="connsiteY10" fmla="*/ 207004 h 488823"/>
              <a:gd name="connsiteX11" fmla="*/ 485505 w 488799"/>
              <a:gd name="connsiteY11" fmla="*/ 204099 h 488823"/>
              <a:gd name="connsiteX12" fmla="*/ 485469 w 488799"/>
              <a:gd name="connsiteY12" fmla="*/ 203844 h 488823"/>
              <a:gd name="connsiteX13" fmla="*/ 484958 w 488799"/>
              <a:gd name="connsiteY13" fmla="*/ 200939 h 488823"/>
              <a:gd name="connsiteX14" fmla="*/ 484399 w 488799"/>
              <a:gd name="connsiteY14" fmla="*/ 197912 h 488823"/>
              <a:gd name="connsiteX15" fmla="*/ 483804 w 488799"/>
              <a:gd name="connsiteY15" fmla="*/ 194910 h 488823"/>
              <a:gd name="connsiteX16" fmla="*/ 483159 w 488799"/>
              <a:gd name="connsiteY16" fmla="*/ 191907 h 488823"/>
              <a:gd name="connsiteX17" fmla="*/ 481786 w 488799"/>
              <a:gd name="connsiteY17" fmla="*/ 185975 h 488823"/>
              <a:gd name="connsiteX18" fmla="*/ 480254 w 488799"/>
              <a:gd name="connsiteY18" fmla="*/ 180092 h 488823"/>
              <a:gd name="connsiteX19" fmla="*/ 479574 w 488799"/>
              <a:gd name="connsiteY19" fmla="*/ 177625 h 488823"/>
              <a:gd name="connsiteX20" fmla="*/ 479282 w 488799"/>
              <a:gd name="connsiteY20" fmla="*/ 176616 h 488823"/>
              <a:gd name="connsiteX21" fmla="*/ 478103 w 488799"/>
              <a:gd name="connsiteY21" fmla="*/ 172678 h 488823"/>
              <a:gd name="connsiteX22" fmla="*/ 477252 w 488799"/>
              <a:gd name="connsiteY22" fmla="*/ 169930 h 488823"/>
              <a:gd name="connsiteX23" fmla="*/ 476292 w 488799"/>
              <a:gd name="connsiteY23" fmla="*/ 167013 h 488823"/>
              <a:gd name="connsiteX24" fmla="*/ 474833 w 488799"/>
              <a:gd name="connsiteY24" fmla="*/ 162783 h 488823"/>
              <a:gd name="connsiteX25" fmla="*/ 473812 w 488799"/>
              <a:gd name="connsiteY25" fmla="*/ 159951 h 488823"/>
              <a:gd name="connsiteX26" fmla="*/ 472766 w 488799"/>
              <a:gd name="connsiteY26" fmla="*/ 157143 h 488823"/>
              <a:gd name="connsiteX27" fmla="*/ 471673 w 488799"/>
              <a:gd name="connsiteY27" fmla="*/ 154347 h 488823"/>
              <a:gd name="connsiteX28" fmla="*/ 470554 w 488799"/>
              <a:gd name="connsiteY28" fmla="*/ 151564 h 488823"/>
              <a:gd name="connsiteX29" fmla="*/ 468245 w 488799"/>
              <a:gd name="connsiteY29" fmla="*/ 146130 h 488823"/>
              <a:gd name="connsiteX30" fmla="*/ 468208 w 488799"/>
              <a:gd name="connsiteY30" fmla="*/ 146045 h 488823"/>
              <a:gd name="connsiteX31" fmla="*/ 466993 w 488799"/>
              <a:gd name="connsiteY31" fmla="*/ 143335 h 488823"/>
              <a:gd name="connsiteX32" fmla="*/ 465741 w 488799"/>
              <a:gd name="connsiteY32" fmla="*/ 140624 h 488823"/>
              <a:gd name="connsiteX33" fmla="*/ 464829 w 488799"/>
              <a:gd name="connsiteY33" fmla="*/ 138740 h 488823"/>
              <a:gd name="connsiteX34" fmla="*/ 462848 w 488799"/>
              <a:gd name="connsiteY34" fmla="*/ 134705 h 488823"/>
              <a:gd name="connsiteX35" fmla="*/ 460392 w 488799"/>
              <a:gd name="connsiteY35" fmla="*/ 129964 h 488823"/>
              <a:gd name="connsiteX36" fmla="*/ 459092 w 488799"/>
              <a:gd name="connsiteY36" fmla="*/ 127533 h 488823"/>
              <a:gd name="connsiteX37" fmla="*/ 456065 w 488799"/>
              <a:gd name="connsiteY37" fmla="*/ 122172 h 488823"/>
              <a:gd name="connsiteX38" fmla="*/ 454728 w 488799"/>
              <a:gd name="connsiteY38" fmla="*/ 119875 h 488823"/>
              <a:gd name="connsiteX39" fmla="*/ 450352 w 488799"/>
              <a:gd name="connsiteY39" fmla="*/ 112776 h 488823"/>
              <a:gd name="connsiteX40" fmla="*/ 448274 w 488799"/>
              <a:gd name="connsiteY40" fmla="*/ 109567 h 488823"/>
              <a:gd name="connsiteX41" fmla="*/ 432399 w 488799"/>
              <a:gd name="connsiteY41" fmla="*/ 88247 h 488823"/>
              <a:gd name="connsiteX42" fmla="*/ 431086 w 488799"/>
              <a:gd name="connsiteY42" fmla="*/ 86679 h 488823"/>
              <a:gd name="connsiteX43" fmla="*/ 429214 w 488799"/>
              <a:gd name="connsiteY43" fmla="*/ 84479 h 488823"/>
              <a:gd name="connsiteX44" fmla="*/ 428594 w 488799"/>
              <a:gd name="connsiteY44" fmla="*/ 83750 h 488823"/>
              <a:gd name="connsiteX45" fmla="*/ 426102 w 488799"/>
              <a:gd name="connsiteY45" fmla="*/ 80942 h 488823"/>
              <a:gd name="connsiteX46" fmla="*/ 420608 w 488799"/>
              <a:gd name="connsiteY46" fmla="*/ 75059 h 488823"/>
              <a:gd name="connsiteX47" fmla="*/ 418554 w 488799"/>
              <a:gd name="connsiteY47" fmla="*/ 72956 h 488823"/>
              <a:gd name="connsiteX48" fmla="*/ 416476 w 488799"/>
              <a:gd name="connsiteY48" fmla="*/ 70865 h 488823"/>
              <a:gd name="connsiteX49" fmla="*/ 414263 w 488799"/>
              <a:gd name="connsiteY49" fmla="*/ 68714 h 488823"/>
              <a:gd name="connsiteX50" fmla="*/ 412051 w 488799"/>
              <a:gd name="connsiteY50" fmla="*/ 66611 h 488823"/>
              <a:gd name="connsiteX51" fmla="*/ 407468 w 488799"/>
              <a:gd name="connsiteY51" fmla="*/ 62393 h 488823"/>
              <a:gd name="connsiteX52" fmla="*/ 405159 w 488799"/>
              <a:gd name="connsiteY52" fmla="*/ 60351 h 488823"/>
              <a:gd name="connsiteX53" fmla="*/ 402825 w 488799"/>
              <a:gd name="connsiteY53" fmla="*/ 58333 h 488823"/>
              <a:gd name="connsiteX54" fmla="*/ 399021 w 488799"/>
              <a:gd name="connsiteY54" fmla="*/ 55173 h 488823"/>
              <a:gd name="connsiteX55" fmla="*/ 396930 w 488799"/>
              <a:gd name="connsiteY55" fmla="*/ 53471 h 488823"/>
              <a:gd name="connsiteX56" fmla="*/ 366068 w 488799"/>
              <a:gd name="connsiteY56" fmla="*/ 32430 h 488823"/>
              <a:gd name="connsiteX57" fmla="*/ 362591 w 488799"/>
              <a:gd name="connsiteY57" fmla="*/ 30461 h 488823"/>
              <a:gd name="connsiteX58" fmla="*/ 359346 w 488799"/>
              <a:gd name="connsiteY58" fmla="*/ 28699 h 488823"/>
              <a:gd name="connsiteX59" fmla="*/ 356587 w 488799"/>
              <a:gd name="connsiteY59" fmla="*/ 27252 h 488823"/>
              <a:gd name="connsiteX60" fmla="*/ 353815 w 488799"/>
              <a:gd name="connsiteY60" fmla="*/ 25830 h 488823"/>
              <a:gd name="connsiteX61" fmla="*/ 345926 w 488799"/>
              <a:gd name="connsiteY61" fmla="*/ 22050 h 488823"/>
              <a:gd name="connsiteX62" fmla="*/ 342499 w 488799"/>
              <a:gd name="connsiteY62" fmla="*/ 20506 h 488823"/>
              <a:gd name="connsiteX63" fmla="*/ 339119 w 488799"/>
              <a:gd name="connsiteY63" fmla="*/ 19059 h 488823"/>
              <a:gd name="connsiteX64" fmla="*/ 336749 w 488799"/>
              <a:gd name="connsiteY64" fmla="*/ 18075 h 488823"/>
              <a:gd name="connsiteX65" fmla="*/ 333808 w 488799"/>
              <a:gd name="connsiteY65" fmla="*/ 16884 h 488823"/>
              <a:gd name="connsiteX66" fmla="*/ 256014 w 488799"/>
              <a:gd name="connsiteY66" fmla="*/ 280 h 488823"/>
              <a:gd name="connsiteX67" fmla="*/ 244430 w 488799"/>
              <a:gd name="connsiteY67" fmla="*/ 0 h 488823"/>
              <a:gd name="connsiteX68" fmla="*/ 240091 w 488799"/>
              <a:gd name="connsiteY68" fmla="*/ 36 h 488823"/>
              <a:gd name="connsiteX69" fmla="*/ 236894 w 488799"/>
              <a:gd name="connsiteY69" fmla="*/ 109 h 488823"/>
              <a:gd name="connsiteX70" fmla="*/ 225480 w 488799"/>
              <a:gd name="connsiteY70" fmla="*/ 717 h 488823"/>
              <a:gd name="connsiteX71" fmla="*/ 223110 w 488799"/>
              <a:gd name="connsiteY71" fmla="*/ 912 h 488823"/>
              <a:gd name="connsiteX72" fmla="*/ 220253 w 488799"/>
              <a:gd name="connsiteY72" fmla="*/ 1179 h 488823"/>
              <a:gd name="connsiteX73" fmla="*/ 216291 w 488799"/>
              <a:gd name="connsiteY73" fmla="*/ 1604 h 488823"/>
              <a:gd name="connsiteX74" fmla="*/ 216157 w 488799"/>
              <a:gd name="connsiteY74" fmla="*/ 1617 h 488823"/>
              <a:gd name="connsiteX75" fmla="*/ 212328 w 488799"/>
              <a:gd name="connsiteY75" fmla="*/ 2091 h 488823"/>
              <a:gd name="connsiteX76" fmla="*/ 208584 w 488799"/>
              <a:gd name="connsiteY76" fmla="*/ 2613 h 488823"/>
              <a:gd name="connsiteX77" fmla="*/ 208268 w 488799"/>
              <a:gd name="connsiteY77" fmla="*/ 2662 h 488823"/>
              <a:gd name="connsiteX78" fmla="*/ 204998 w 488799"/>
              <a:gd name="connsiteY78" fmla="*/ 3160 h 488823"/>
              <a:gd name="connsiteX79" fmla="*/ 203880 w 488799"/>
              <a:gd name="connsiteY79" fmla="*/ 3343 h 488823"/>
              <a:gd name="connsiteX80" fmla="*/ 200610 w 488799"/>
              <a:gd name="connsiteY80" fmla="*/ 3914 h 488823"/>
              <a:gd name="connsiteX81" fmla="*/ 197815 w 488799"/>
              <a:gd name="connsiteY81" fmla="*/ 4437 h 488823"/>
              <a:gd name="connsiteX82" fmla="*/ 195007 w 488799"/>
              <a:gd name="connsiteY82" fmla="*/ 4996 h 488823"/>
              <a:gd name="connsiteX83" fmla="*/ 194618 w 488799"/>
              <a:gd name="connsiteY83" fmla="*/ 5069 h 488823"/>
              <a:gd name="connsiteX84" fmla="*/ 191859 w 488799"/>
              <a:gd name="connsiteY84" fmla="*/ 5652 h 488823"/>
              <a:gd name="connsiteX85" fmla="*/ 191628 w 488799"/>
              <a:gd name="connsiteY85" fmla="*/ 5701 h 488823"/>
              <a:gd name="connsiteX86" fmla="*/ 188832 w 488799"/>
              <a:gd name="connsiteY86" fmla="*/ 6333 h 488823"/>
              <a:gd name="connsiteX87" fmla="*/ 187884 w 488799"/>
              <a:gd name="connsiteY87" fmla="*/ 6552 h 488823"/>
              <a:gd name="connsiteX88" fmla="*/ 185270 w 488799"/>
              <a:gd name="connsiteY88" fmla="*/ 7184 h 488823"/>
              <a:gd name="connsiteX89" fmla="*/ 181599 w 488799"/>
              <a:gd name="connsiteY89" fmla="*/ 8132 h 488823"/>
              <a:gd name="connsiteX90" fmla="*/ 181429 w 488799"/>
              <a:gd name="connsiteY90" fmla="*/ 8180 h 488823"/>
              <a:gd name="connsiteX91" fmla="*/ 178354 w 488799"/>
              <a:gd name="connsiteY91" fmla="*/ 9007 h 488823"/>
              <a:gd name="connsiteX92" fmla="*/ 173164 w 488799"/>
              <a:gd name="connsiteY92" fmla="*/ 10526 h 488823"/>
              <a:gd name="connsiteX93" fmla="*/ 170368 w 488799"/>
              <a:gd name="connsiteY93" fmla="*/ 11389 h 488823"/>
              <a:gd name="connsiteX94" fmla="*/ 168229 w 488799"/>
              <a:gd name="connsiteY94" fmla="*/ 12094 h 488823"/>
              <a:gd name="connsiteX95" fmla="*/ 165652 w 488799"/>
              <a:gd name="connsiteY95" fmla="*/ 12945 h 488823"/>
              <a:gd name="connsiteX96" fmla="*/ 163002 w 488799"/>
              <a:gd name="connsiteY96" fmla="*/ 13869 h 488823"/>
              <a:gd name="connsiteX97" fmla="*/ 155794 w 488799"/>
              <a:gd name="connsiteY97" fmla="*/ 16555 h 488823"/>
              <a:gd name="connsiteX98" fmla="*/ 152889 w 488799"/>
              <a:gd name="connsiteY98" fmla="*/ 17710 h 488823"/>
              <a:gd name="connsiteX99" fmla="*/ 148671 w 488799"/>
              <a:gd name="connsiteY99" fmla="*/ 19461 h 488823"/>
              <a:gd name="connsiteX100" fmla="*/ 145158 w 488799"/>
              <a:gd name="connsiteY100" fmla="*/ 20992 h 488823"/>
              <a:gd name="connsiteX101" fmla="*/ 142046 w 488799"/>
              <a:gd name="connsiteY101" fmla="*/ 22414 h 488823"/>
              <a:gd name="connsiteX102" fmla="*/ 137500 w 488799"/>
              <a:gd name="connsiteY102" fmla="*/ 24566 h 488823"/>
              <a:gd name="connsiteX103" fmla="*/ 131398 w 488799"/>
              <a:gd name="connsiteY103" fmla="*/ 27641 h 488823"/>
              <a:gd name="connsiteX104" fmla="*/ 128031 w 488799"/>
              <a:gd name="connsiteY104" fmla="*/ 29440 h 488823"/>
              <a:gd name="connsiteX105" fmla="*/ 124701 w 488799"/>
              <a:gd name="connsiteY105" fmla="*/ 31275 h 488823"/>
              <a:gd name="connsiteX106" fmla="*/ 119170 w 488799"/>
              <a:gd name="connsiteY106" fmla="*/ 34484 h 488823"/>
              <a:gd name="connsiteX107" fmla="*/ 117371 w 488799"/>
              <a:gd name="connsiteY107" fmla="*/ 35578 h 488823"/>
              <a:gd name="connsiteX108" fmla="*/ 114891 w 488799"/>
              <a:gd name="connsiteY108" fmla="*/ 37110 h 488823"/>
              <a:gd name="connsiteX109" fmla="*/ 111877 w 488799"/>
              <a:gd name="connsiteY109" fmla="*/ 39006 h 488823"/>
              <a:gd name="connsiteX110" fmla="*/ 95771 w 488799"/>
              <a:gd name="connsiteY110" fmla="*/ 50384 h 488823"/>
              <a:gd name="connsiteX111" fmla="*/ 93693 w 488799"/>
              <a:gd name="connsiteY111" fmla="*/ 51988 h 488823"/>
              <a:gd name="connsiteX112" fmla="*/ 90265 w 488799"/>
              <a:gd name="connsiteY112" fmla="*/ 54747 h 488823"/>
              <a:gd name="connsiteX113" fmla="*/ 87360 w 488799"/>
              <a:gd name="connsiteY113" fmla="*/ 57154 h 488823"/>
              <a:gd name="connsiteX114" fmla="*/ 81379 w 488799"/>
              <a:gd name="connsiteY114" fmla="*/ 62344 h 488823"/>
              <a:gd name="connsiteX115" fmla="*/ 78851 w 488799"/>
              <a:gd name="connsiteY115" fmla="*/ 64642 h 488823"/>
              <a:gd name="connsiteX116" fmla="*/ 76931 w 488799"/>
              <a:gd name="connsiteY116" fmla="*/ 66428 h 488823"/>
              <a:gd name="connsiteX117" fmla="*/ 75436 w 488799"/>
              <a:gd name="connsiteY117" fmla="*/ 67838 h 488823"/>
              <a:gd name="connsiteX118" fmla="*/ 70671 w 488799"/>
              <a:gd name="connsiteY118" fmla="*/ 72518 h 488823"/>
              <a:gd name="connsiteX119" fmla="*/ 68045 w 488799"/>
              <a:gd name="connsiteY119" fmla="*/ 75229 h 488823"/>
              <a:gd name="connsiteX120" fmla="*/ 65456 w 488799"/>
              <a:gd name="connsiteY120" fmla="*/ 77976 h 488823"/>
              <a:gd name="connsiteX121" fmla="*/ 62891 w 488799"/>
              <a:gd name="connsiteY121" fmla="*/ 80772 h 488823"/>
              <a:gd name="connsiteX122" fmla="*/ 55501 w 488799"/>
              <a:gd name="connsiteY122" fmla="*/ 89365 h 488823"/>
              <a:gd name="connsiteX123" fmla="*/ 53118 w 488799"/>
              <a:gd name="connsiteY123" fmla="*/ 92319 h 488823"/>
              <a:gd name="connsiteX124" fmla="*/ 50153 w 488799"/>
              <a:gd name="connsiteY124" fmla="*/ 96124 h 488823"/>
              <a:gd name="connsiteX125" fmla="*/ 48487 w 488799"/>
              <a:gd name="connsiteY125" fmla="*/ 98324 h 488823"/>
              <a:gd name="connsiteX126" fmla="*/ 46239 w 488799"/>
              <a:gd name="connsiteY126" fmla="*/ 101375 h 488823"/>
              <a:gd name="connsiteX127" fmla="*/ 44038 w 488799"/>
              <a:gd name="connsiteY127" fmla="*/ 104462 h 488823"/>
              <a:gd name="connsiteX128" fmla="*/ 41984 w 488799"/>
              <a:gd name="connsiteY128" fmla="*/ 107440 h 488823"/>
              <a:gd name="connsiteX129" fmla="*/ 37730 w 488799"/>
              <a:gd name="connsiteY129" fmla="*/ 113931 h 488823"/>
              <a:gd name="connsiteX130" fmla="*/ 35967 w 488799"/>
              <a:gd name="connsiteY130" fmla="*/ 116763 h 488823"/>
              <a:gd name="connsiteX131" fmla="*/ 34497 w 488799"/>
              <a:gd name="connsiteY131" fmla="*/ 119194 h 488823"/>
              <a:gd name="connsiteX132" fmla="*/ 32552 w 488799"/>
              <a:gd name="connsiteY132" fmla="*/ 122501 h 488823"/>
              <a:gd name="connsiteX133" fmla="*/ 30789 w 488799"/>
              <a:gd name="connsiteY133" fmla="*/ 125600 h 488823"/>
              <a:gd name="connsiteX134" fmla="*/ 29294 w 488799"/>
              <a:gd name="connsiteY134" fmla="*/ 128335 h 488823"/>
              <a:gd name="connsiteX135" fmla="*/ 27726 w 488799"/>
              <a:gd name="connsiteY135" fmla="*/ 131289 h 488823"/>
              <a:gd name="connsiteX136" fmla="*/ 26195 w 488799"/>
              <a:gd name="connsiteY136" fmla="*/ 134279 h 488823"/>
              <a:gd name="connsiteX137" fmla="*/ 24699 w 488799"/>
              <a:gd name="connsiteY137" fmla="*/ 137281 h 488823"/>
              <a:gd name="connsiteX138" fmla="*/ 20457 w 488799"/>
              <a:gd name="connsiteY138" fmla="*/ 146422 h 488823"/>
              <a:gd name="connsiteX139" fmla="*/ 18512 w 488799"/>
              <a:gd name="connsiteY139" fmla="*/ 150968 h 488823"/>
              <a:gd name="connsiteX140" fmla="*/ 18233 w 488799"/>
              <a:gd name="connsiteY140" fmla="*/ 151661 h 488823"/>
              <a:gd name="connsiteX141" fmla="*/ 14805 w 488799"/>
              <a:gd name="connsiteY141" fmla="*/ 160510 h 488823"/>
              <a:gd name="connsiteX142" fmla="*/ 13115 w 488799"/>
              <a:gd name="connsiteY142" fmla="*/ 165299 h 488823"/>
              <a:gd name="connsiteX143" fmla="*/ 11511 w 488799"/>
              <a:gd name="connsiteY143" fmla="*/ 170137 h 488823"/>
              <a:gd name="connsiteX144" fmla="*/ 10016 w 488799"/>
              <a:gd name="connsiteY144" fmla="*/ 175011 h 488823"/>
              <a:gd name="connsiteX145" fmla="*/ 9299 w 488799"/>
              <a:gd name="connsiteY145" fmla="*/ 177467 h 488823"/>
              <a:gd name="connsiteX146" fmla="*/ 8618 w 488799"/>
              <a:gd name="connsiteY146" fmla="*/ 179946 h 488823"/>
              <a:gd name="connsiteX147" fmla="*/ 7950 w 488799"/>
              <a:gd name="connsiteY147" fmla="*/ 182426 h 488823"/>
              <a:gd name="connsiteX148" fmla="*/ 7317 w 488799"/>
              <a:gd name="connsiteY148" fmla="*/ 184906 h 488823"/>
              <a:gd name="connsiteX149" fmla="*/ 6710 w 488799"/>
              <a:gd name="connsiteY149" fmla="*/ 187410 h 488823"/>
              <a:gd name="connsiteX150" fmla="*/ 4522 w 488799"/>
              <a:gd name="connsiteY150" fmla="*/ 197499 h 488823"/>
              <a:gd name="connsiteX151" fmla="*/ 3586 w 488799"/>
              <a:gd name="connsiteY151" fmla="*/ 202592 h 488823"/>
              <a:gd name="connsiteX152" fmla="*/ 2759 w 488799"/>
              <a:gd name="connsiteY152" fmla="*/ 207733 h 488823"/>
              <a:gd name="connsiteX153" fmla="*/ 2030 w 488799"/>
              <a:gd name="connsiteY153" fmla="*/ 212899 h 488823"/>
              <a:gd name="connsiteX154" fmla="*/ 1714 w 488799"/>
              <a:gd name="connsiteY154" fmla="*/ 215488 h 488823"/>
              <a:gd name="connsiteX155" fmla="*/ 1191 w 488799"/>
              <a:gd name="connsiteY155" fmla="*/ 220399 h 488823"/>
              <a:gd name="connsiteX156" fmla="*/ 851 w 488799"/>
              <a:gd name="connsiteY156" fmla="*/ 224167 h 488823"/>
              <a:gd name="connsiteX157" fmla="*/ 438 w 488799"/>
              <a:gd name="connsiteY157" fmla="*/ 230002 h 488823"/>
              <a:gd name="connsiteX158" fmla="*/ 280 w 488799"/>
              <a:gd name="connsiteY158" fmla="*/ 232943 h 488823"/>
              <a:gd name="connsiteX159" fmla="*/ 73 w 488799"/>
              <a:gd name="connsiteY159" fmla="*/ 238826 h 488823"/>
              <a:gd name="connsiteX160" fmla="*/ 12 w 488799"/>
              <a:gd name="connsiteY160" fmla="*/ 241622 h 488823"/>
              <a:gd name="connsiteX161" fmla="*/ 0 w 488799"/>
              <a:gd name="connsiteY161" fmla="*/ 244430 h 488823"/>
              <a:gd name="connsiteX162" fmla="*/ 49 w 488799"/>
              <a:gd name="connsiteY162" fmla="*/ 249158 h 488823"/>
              <a:gd name="connsiteX163" fmla="*/ 158 w 488799"/>
              <a:gd name="connsiteY163" fmla="*/ 253340 h 488823"/>
              <a:gd name="connsiteX164" fmla="*/ 219 w 488799"/>
              <a:gd name="connsiteY164" fmla="*/ 254969 h 488823"/>
              <a:gd name="connsiteX165" fmla="*/ 292 w 488799"/>
              <a:gd name="connsiteY165" fmla="*/ 256707 h 488823"/>
              <a:gd name="connsiteX166" fmla="*/ 450 w 488799"/>
              <a:gd name="connsiteY166" fmla="*/ 259466 h 488823"/>
              <a:gd name="connsiteX167" fmla="*/ 462 w 488799"/>
              <a:gd name="connsiteY167" fmla="*/ 259721 h 488823"/>
              <a:gd name="connsiteX168" fmla="*/ 1094 w 488799"/>
              <a:gd name="connsiteY168" fmla="*/ 267853 h 488823"/>
              <a:gd name="connsiteX169" fmla="*/ 1459 w 488799"/>
              <a:gd name="connsiteY169" fmla="*/ 271415 h 488823"/>
              <a:gd name="connsiteX170" fmla="*/ 1750 w 488799"/>
              <a:gd name="connsiteY170" fmla="*/ 273992 h 488823"/>
              <a:gd name="connsiteX171" fmla="*/ 2188 w 488799"/>
              <a:gd name="connsiteY171" fmla="*/ 277444 h 488823"/>
              <a:gd name="connsiteX172" fmla="*/ 2674 w 488799"/>
              <a:gd name="connsiteY172" fmla="*/ 280835 h 488823"/>
              <a:gd name="connsiteX173" fmla="*/ 3525 w 488799"/>
              <a:gd name="connsiteY173" fmla="*/ 286135 h 488823"/>
              <a:gd name="connsiteX174" fmla="*/ 4339 w 488799"/>
              <a:gd name="connsiteY174" fmla="*/ 290644 h 488823"/>
              <a:gd name="connsiteX175" fmla="*/ 5166 w 488799"/>
              <a:gd name="connsiteY175" fmla="*/ 294777 h 488823"/>
              <a:gd name="connsiteX176" fmla="*/ 5324 w 488799"/>
              <a:gd name="connsiteY176" fmla="*/ 295531 h 488823"/>
              <a:gd name="connsiteX177" fmla="*/ 6090 w 488799"/>
              <a:gd name="connsiteY177" fmla="*/ 299007 h 488823"/>
              <a:gd name="connsiteX178" fmla="*/ 7281 w 488799"/>
              <a:gd name="connsiteY178" fmla="*/ 303991 h 488823"/>
              <a:gd name="connsiteX179" fmla="*/ 8436 w 488799"/>
              <a:gd name="connsiteY179" fmla="*/ 308367 h 488823"/>
              <a:gd name="connsiteX180" fmla="*/ 9651 w 488799"/>
              <a:gd name="connsiteY180" fmla="*/ 312718 h 488823"/>
              <a:gd name="connsiteX181" fmla="*/ 10952 w 488799"/>
              <a:gd name="connsiteY181" fmla="*/ 317033 h 488823"/>
              <a:gd name="connsiteX182" fmla="*/ 11900 w 488799"/>
              <a:gd name="connsiteY182" fmla="*/ 320011 h 488823"/>
              <a:gd name="connsiteX183" fmla="*/ 12885 w 488799"/>
              <a:gd name="connsiteY183" fmla="*/ 322977 h 488823"/>
              <a:gd name="connsiteX184" fmla="*/ 13906 w 488799"/>
              <a:gd name="connsiteY184" fmla="*/ 325919 h 488823"/>
              <a:gd name="connsiteX185" fmla="*/ 14963 w 488799"/>
              <a:gd name="connsiteY185" fmla="*/ 328836 h 488823"/>
              <a:gd name="connsiteX186" fmla="*/ 16045 w 488799"/>
              <a:gd name="connsiteY186" fmla="*/ 331741 h 488823"/>
              <a:gd name="connsiteX187" fmla="*/ 17212 w 488799"/>
              <a:gd name="connsiteY187" fmla="*/ 334707 h 488823"/>
              <a:gd name="connsiteX188" fmla="*/ 18306 w 488799"/>
              <a:gd name="connsiteY188" fmla="*/ 337430 h 488823"/>
              <a:gd name="connsiteX189" fmla="*/ 18440 w 488799"/>
              <a:gd name="connsiteY189" fmla="*/ 337734 h 488823"/>
              <a:gd name="connsiteX190" fmla="*/ 19546 w 488799"/>
              <a:gd name="connsiteY190" fmla="*/ 340359 h 488823"/>
              <a:gd name="connsiteX191" fmla="*/ 21977 w 488799"/>
              <a:gd name="connsiteY191" fmla="*/ 345853 h 488823"/>
              <a:gd name="connsiteX192" fmla="*/ 24529 w 488799"/>
              <a:gd name="connsiteY192" fmla="*/ 351275 h 488823"/>
              <a:gd name="connsiteX193" fmla="*/ 25854 w 488799"/>
              <a:gd name="connsiteY193" fmla="*/ 353973 h 488823"/>
              <a:gd name="connsiteX194" fmla="*/ 27216 w 488799"/>
              <a:gd name="connsiteY194" fmla="*/ 356623 h 488823"/>
              <a:gd name="connsiteX195" fmla="*/ 28443 w 488799"/>
              <a:gd name="connsiteY195" fmla="*/ 358957 h 488823"/>
              <a:gd name="connsiteX196" fmla="*/ 30023 w 488799"/>
              <a:gd name="connsiteY196" fmla="*/ 361911 h 488823"/>
              <a:gd name="connsiteX197" fmla="*/ 32406 w 488799"/>
              <a:gd name="connsiteY197" fmla="*/ 366141 h 488823"/>
              <a:gd name="connsiteX198" fmla="*/ 33658 w 488799"/>
              <a:gd name="connsiteY198" fmla="*/ 368292 h 488823"/>
              <a:gd name="connsiteX199" fmla="*/ 35578 w 488799"/>
              <a:gd name="connsiteY199" fmla="*/ 371489 h 488823"/>
              <a:gd name="connsiteX200" fmla="*/ 38289 w 488799"/>
              <a:gd name="connsiteY200" fmla="*/ 375828 h 488823"/>
              <a:gd name="connsiteX201" fmla="*/ 40842 w 488799"/>
              <a:gd name="connsiteY201" fmla="*/ 379742 h 488823"/>
              <a:gd name="connsiteX202" fmla="*/ 42385 w 488799"/>
              <a:gd name="connsiteY202" fmla="*/ 382028 h 488823"/>
              <a:gd name="connsiteX203" fmla="*/ 42823 w 488799"/>
              <a:gd name="connsiteY203" fmla="*/ 382660 h 488823"/>
              <a:gd name="connsiteX204" fmla="*/ 45145 w 488799"/>
              <a:gd name="connsiteY204" fmla="*/ 385978 h 488823"/>
              <a:gd name="connsiteX205" fmla="*/ 48463 w 488799"/>
              <a:gd name="connsiteY205" fmla="*/ 390536 h 488823"/>
              <a:gd name="connsiteX206" fmla="*/ 50469 w 488799"/>
              <a:gd name="connsiteY206" fmla="*/ 393162 h 488823"/>
              <a:gd name="connsiteX207" fmla="*/ 51648 w 488799"/>
              <a:gd name="connsiteY207" fmla="*/ 394705 h 488823"/>
              <a:gd name="connsiteX208" fmla="*/ 53094 w 488799"/>
              <a:gd name="connsiteY208" fmla="*/ 396517 h 488823"/>
              <a:gd name="connsiteX209" fmla="*/ 56850 w 488799"/>
              <a:gd name="connsiteY209" fmla="*/ 401123 h 488823"/>
              <a:gd name="connsiteX210" fmla="*/ 58771 w 488799"/>
              <a:gd name="connsiteY210" fmla="*/ 403384 h 488823"/>
              <a:gd name="connsiteX211" fmla="*/ 61651 w 488799"/>
              <a:gd name="connsiteY211" fmla="*/ 406691 h 488823"/>
              <a:gd name="connsiteX212" fmla="*/ 63669 w 488799"/>
              <a:gd name="connsiteY212" fmla="*/ 408939 h 488823"/>
              <a:gd name="connsiteX213" fmla="*/ 65954 w 488799"/>
              <a:gd name="connsiteY213" fmla="*/ 411407 h 488823"/>
              <a:gd name="connsiteX214" fmla="*/ 68945 w 488799"/>
              <a:gd name="connsiteY214" fmla="*/ 414543 h 488823"/>
              <a:gd name="connsiteX215" fmla="*/ 70817 w 488799"/>
              <a:gd name="connsiteY215" fmla="*/ 416463 h 488823"/>
              <a:gd name="connsiteX216" fmla="*/ 72907 w 488799"/>
              <a:gd name="connsiteY216" fmla="*/ 418554 h 488823"/>
              <a:gd name="connsiteX217" fmla="*/ 76457 w 488799"/>
              <a:gd name="connsiteY217" fmla="*/ 421970 h 488823"/>
              <a:gd name="connsiteX218" fmla="*/ 78924 w 488799"/>
              <a:gd name="connsiteY218" fmla="*/ 424255 h 488823"/>
              <a:gd name="connsiteX219" fmla="*/ 81051 w 488799"/>
              <a:gd name="connsiteY219" fmla="*/ 426212 h 488823"/>
              <a:gd name="connsiteX220" fmla="*/ 85342 w 488799"/>
              <a:gd name="connsiteY220" fmla="*/ 429980 h 488823"/>
              <a:gd name="connsiteX221" fmla="*/ 87494 w 488799"/>
              <a:gd name="connsiteY221" fmla="*/ 431803 h 488823"/>
              <a:gd name="connsiteX222" fmla="*/ 88429 w 488799"/>
              <a:gd name="connsiteY222" fmla="*/ 432581 h 488823"/>
              <a:gd name="connsiteX223" fmla="*/ 90289 w 488799"/>
              <a:gd name="connsiteY223" fmla="*/ 434113 h 488823"/>
              <a:gd name="connsiteX224" fmla="*/ 93158 w 488799"/>
              <a:gd name="connsiteY224" fmla="*/ 436422 h 488823"/>
              <a:gd name="connsiteX225" fmla="*/ 100342 w 488799"/>
              <a:gd name="connsiteY225" fmla="*/ 441868 h 488823"/>
              <a:gd name="connsiteX226" fmla="*/ 108024 w 488799"/>
              <a:gd name="connsiteY226" fmla="*/ 447265 h 488823"/>
              <a:gd name="connsiteX227" fmla="*/ 111938 w 488799"/>
              <a:gd name="connsiteY227" fmla="*/ 449842 h 488823"/>
              <a:gd name="connsiteX228" fmla="*/ 115913 w 488799"/>
              <a:gd name="connsiteY228" fmla="*/ 452358 h 488823"/>
              <a:gd name="connsiteX229" fmla="*/ 119948 w 488799"/>
              <a:gd name="connsiteY229" fmla="*/ 454813 h 488823"/>
              <a:gd name="connsiteX230" fmla="*/ 124020 w 488799"/>
              <a:gd name="connsiteY230" fmla="*/ 457171 h 488823"/>
              <a:gd name="connsiteX231" fmla="*/ 128141 w 488799"/>
              <a:gd name="connsiteY231" fmla="*/ 459457 h 488823"/>
              <a:gd name="connsiteX232" fmla="*/ 132310 w 488799"/>
              <a:gd name="connsiteY232" fmla="*/ 461669 h 488823"/>
              <a:gd name="connsiteX233" fmla="*/ 136273 w 488799"/>
              <a:gd name="connsiteY233" fmla="*/ 463662 h 488823"/>
              <a:gd name="connsiteX234" fmla="*/ 137002 w 488799"/>
              <a:gd name="connsiteY234" fmla="*/ 464015 h 488823"/>
              <a:gd name="connsiteX235" fmla="*/ 140806 w 488799"/>
              <a:gd name="connsiteY235" fmla="*/ 465850 h 488823"/>
              <a:gd name="connsiteX236" fmla="*/ 145122 w 488799"/>
              <a:gd name="connsiteY236" fmla="*/ 467819 h 488823"/>
              <a:gd name="connsiteX237" fmla="*/ 149473 w 488799"/>
              <a:gd name="connsiteY237" fmla="*/ 469703 h 488823"/>
              <a:gd name="connsiteX238" fmla="*/ 153873 w 488799"/>
              <a:gd name="connsiteY238" fmla="*/ 471515 h 488823"/>
              <a:gd name="connsiteX239" fmla="*/ 157398 w 488799"/>
              <a:gd name="connsiteY239" fmla="*/ 472876 h 488823"/>
              <a:gd name="connsiteX240" fmla="*/ 159149 w 488799"/>
              <a:gd name="connsiteY240" fmla="*/ 473544 h 488823"/>
              <a:gd name="connsiteX241" fmla="*/ 161811 w 488799"/>
              <a:gd name="connsiteY241" fmla="*/ 474517 h 488823"/>
              <a:gd name="connsiteX242" fmla="*/ 163792 w 488799"/>
              <a:gd name="connsiteY242" fmla="*/ 475222 h 488823"/>
              <a:gd name="connsiteX243" fmla="*/ 172605 w 488799"/>
              <a:gd name="connsiteY243" fmla="*/ 478115 h 488823"/>
              <a:gd name="connsiteX244" fmla="*/ 175340 w 488799"/>
              <a:gd name="connsiteY244" fmla="*/ 478929 h 488823"/>
              <a:gd name="connsiteX245" fmla="*/ 178087 w 488799"/>
              <a:gd name="connsiteY245" fmla="*/ 479719 h 488823"/>
              <a:gd name="connsiteX246" fmla="*/ 190898 w 488799"/>
              <a:gd name="connsiteY246" fmla="*/ 482953 h 488823"/>
              <a:gd name="connsiteX247" fmla="*/ 197644 w 488799"/>
              <a:gd name="connsiteY247" fmla="*/ 484375 h 488823"/>
              <a:gd name="connsiteX248" fmla="*/ 204840 w 488799"/>
              <a:gd name="connsiteY248" fmla="*/ 485651 h 488823"/>
              <a:gd name="connsiteX249" fmla="*/ 207271 w 488799"/>
              <a:gd name="connsiteY249" fmla="*/ 486028 h 488823"/>
              <a:gd name="connsiteX250" fmla="*/ 212121 w 488799"/>
              <a:gd name="connsiteY250" fmla="*/ 486721 h 488823"/>
              <a:gd name="connsiteX251" fmla="*/ 217008 w 488799"/>
              <a:gd name="connsiteY251" fmla="*/ 487316 h 488823"/>
              <a:gd name="connsiteX252" fmla="*/ 219475 w 488799"/>
              <a:gd name="connsiteY252" fmla="*/ 487572 h 488823"/>
              <a:gd name="connsiteX253" fmla="*/ 225042 w 488799"/>
              <a:gd name="connsiteY253" fmla="*/ 488082 h 488823"/>
              <a:gd name="connsiteX254" fmla="*/ 229370 w 488799"/>
              <a:gd name="connsiteY254" fmla="*/ 488374 h 488823"/>
              <a:gd name="connsiteX255" fmla="*/ 231862 w 488799"/>
              <a:gd name="connsiteY255" fmla="*/ 488520 h 488823"/>
              <a:gd name="connsiteX256" fmla="*/ 233831 w 488799"/>
              <a:gd name="connsiteY256" fmla="*/ 488605 h 488823"/>
              <a:gd name="connsiteX257" fmla="*/ 235447 w 488799"/>
              <a:gd name="connsiteY257" fmla="*/ 488666 h 488823"/>
              <a:gd name="connsiteX258" fmla="*/ 238425 w 488799"/>
              <a:gd name="connsiteY258" fmla="*/ 488751 h 488823"/>
              <a:gd name="connsiteX259" fmla="*/ 240237 w 488799"/>
              <a:gd name="connsiteY259" fmla="*/ 488787 h 488823"/>
              <a:gd name="connsiteX260" fmla="*/ 241877 w 488799"/>
              <a:gd name="connsiteY260" fmla="*/ 488811 h 488823"/>
              <a:gd name="connsiteX261" fmla="*/ 244406 w 488799"/>
              <a:gd name="connsiteY261" fmla="*/ 488824 h 488823"/>
              <a:gd name="connsiteX262" fmla="*/ 247311 w 488799"/>
              <a:gd name="connsiteY262" fmla="*/ 488811 h 488823"/>
              <a:gd name="connsiteX263" fmla="*/ 250216 w 488799"/>
              <a:gd name="connsiteY263" fmla="*/ 488751 h 488823"/>
              <a:gd name="connsiteX264" fmla="*/ 253109 w 488799"/>
              <a:gd name="connsiteY264" fmla="*/ 488666 h 488823"/>
              <a:gd name="connsiteX265" fmla="*/ 255868 w 488799"/>
              <a:gd name="connsiteY265" fmla="*/ 488556 h 488823"/>
              <a:gd name="connsiteX266" fmla="*/ 255977 w 488799"/>
              <a:gd name="connsiteY266" fmla="*/ 488556 h 488823"/>
              <a:gd name="connsiteX267" fmla="*/ 333771 w 488799"/>
              <a:gd name="connsiteY267" fmla="*/ 471952 h 488823"/>
              <a:gd name="connsiteX268" fmla="*/ 336713 w 488799"/>
              <a:gd name="connsiteY268" fmla="*/ 470761 h 488823"/>
              <a:gd name="connsiteX269" fmla="*/ 339083 w 488799"/>
              <a:gd name="connsiteY269" fmla="*/ 469776 h 488823"/>
              <a:gd name="connsiteX270" fmla="*/ 353791 w 488799"/>
              <a:gd name="connsiteY270" fmla="*/ 463006 h 488823"/>
              <a:gd name="connsiteX271" fmla="*/ 356562 w 488799"/>
              <a:gd name="connsiteY271" fmla="*/ 461584 h 488823"/>
              <a:gd name="connsiteX272" fmla="*/ 359322 w 488799"/>
              <a:gd name="connsiteY272" fmla="*/ 460137 h 488823"/>
              <a:gd name="connsiteX273" fmla="*/ 362069 w 488799"/>
              <a:gd name="connsiteY273" fmla="*/ 458654 h 488823"/>
              <a:gd name="connsiteX274" fmla="*/ 363624 w 488799"/>
              <a:gd name="connsiteY274" fmla="*/ 457791 h 488823"/>
              <a:gd name="connsiteX275" fmla="*/ 365885 w 488799"/>
              <a:gd name="connsiteY275" fmla="*/ 456503 h 488823"/>
              <a:gd name="connsiteX276" fmla="*/ 372802 w 488799"/>
              <a:gd name="connsiteY276" fmla="*/ 452382 h 488823"/>
              <a:gd name="connsiteX277" fmla="*/ 375427 w 488799"/>
              <a:gd name="connsiteY277" fmla="*/ 450741 h 488823"/>
              <a:gd name="connsiteX278" fmla="*/ 380605 w 488799"/>
              <a:gd name="connsiteY278" fmla="*/ 447350 h 488823"/>
              <a:gd name="connsiteX279" fmla="*/ 383170 w 488799"/>
              <a:gd name="connsiteY279" fmla="*/ 445599 h 488823"/>
              <a:gd name="connsiteX280" fmla="*/ 388227 w 488799"/>
              <a:gd name="connsiteY280" fmla="*/ 442014 h 488823"/>
              <a:gd name="connsiteX281" fmla="*/ 390500 w 488799"/>
              <a:gd name="connsiteY281" fmla="*/ 440324 h 488823"/>
              <a:gd name="connsiteX282" fmla="*/ 398401 w 488799"/>
              <a:gd name="connsiteY282" fmla="*/ 434174 h 488823"/>
              <a:gd name="connsiteX283" fmla="*/ 402789 w 488799"/>
              <a:gd name="connsiteY283" fmla="*/ 430527 h 488823"/>
              <a:gd name="connsiteX284" fmla="*/ 405123 w 488799"/>
              <a:gd name="connsiteY284" fmla="*/ 428509 h 488823"/>
              <a:gd name="connsiteX285" fmla="*/ 411990 w 488799"/>
              <a:gd name="connsiteY285" fmla="*/ 422286 h 488823"/>
              <a:gd name="connsiteX286" fmla="*/ 414227 w 488799"/>
              <a:gd name="connsiteY286" fmla="*/ 420159 h 488823"/>
              <a:gd name="connsiteX287" fmla="*/ 416439 w 488799"/>
              <a:gd name="connsiteY287" fmla="*/ 418007 h 488823"/>
              <a:gd name="connsiteX288" fmla="*/ 418518 w 488799"/>
              <a:gd name="connsiteY288" fmla="*/ 415916 h 488823"/>
              <a:gd name="connsiteX289" fmla="*/ 420572 w 488799"/>
              <a:gd name="connsiteY289" fmla="*/ 413814 h 488823"/>
              <a:gd name="connsiteX290" fmla="*/ 424607 w 488799"/>
              <a:gd name="connsiteY290" fmla="*/ 409511 h 488823"/>
              <a:gd name="connsiteX291" fmla="*/ 426528 w 488799"/>
              <a:gd name="connsiteY291" fmla="*/ 407420 h 488823"/>
              <a:gd name="connsiteX292" fmla="*/ 428558 w 488799"/>
              <a:gd name="connsiteY292" fmla="*/ 405123 h 488823"/>
              <a:gd name="connsiteX293" fmla="*/ 430308 w 488799"/>
              <a:gd name="connsiteY293" fmla="*/ 403093 h 488823"/>
              <a:gd name="connsiteX294" fmla="*/ 430563 w 488799"/>
              <a:gd name="connsiteY294" fmla="*/ 402789 h 488823"/>
              <a:gd name="connsiteX295" fmla="*/ 434247 w 488799"/>
              <a:gd name="connsiteY295" fmla="*/ 398364 h 488823"/>
              <a:gd name="connsiteX296" fmla="*/ 436082 w 488799"/>
              <a:gd name="connsiteY296" fmla="*/ 396067 h 488823"/>
              <a:gd name="connsiteX297" fmla="*/ 436106 w 488799"/>
              <a:gd name="connsiteY297" fmla="*/ 396043 h 488823"/>
              <a:gd name="connsiteX298" fmla="*/ 437905 w 488799"/>
              <a:gd name="connsiteY298" fmla="*/ 393733 h 488823"/>
              <a:gd name="connsiteX299" fmla="*/ 439704 w 488799"/>
              <a:gd name="connsiteY299" fmla="*/ 391387 h 488823"/>
              <a:gd name="connsiteX300" fmla="*/ 441467 w 488799"/>
              <a:gd name="connsiteY300" fmla="*/ 389017 h 488823"/>
              <a:gd name="connsiteX301" fmla="*/ 443205 w 488799"/>
              <a:gd name="connsiteY301" fmla="*/ 386634 h 488823"/>
              <a:gd name="connsiteX302" fmla="*/ 444919 w 488799"/>
              <a:gd name="connsiteY302" fmla="*/ 384228 h 488823"/>
              <a:gd name="connsiteX303" fmla="*/ 446596 w 488799"/>
              <a:gd name="connsiteY303" fmla="*/ 381784 h 488823"/>
              <a:gd name="connsiteX304" fmla="*/ 448262 w 488799"/>
              <a:gd name="connsiteY304" fmla="*/ 379329 h 488823"/>
              <a:gd name="connsiteX305" fmla="*/ 454692 w 488799"/>
              <a:gd name="connsiteY305" fmla="*/ 369082 h 488823"/>
              <a:gd name="connsiteX306" fmla="*/ 456053 w 488799"/>
              <a:gd name="connsiteY306" fmla="*/ 366736 h 488823"/>
              <a:gd name="connsiteX307" fmla="*/ 459080 w 488799"/>
              <a:gd name="connsiteY307" fmla="*/ 361376 h 488823"/>
              <a:gd name="connsiteX308" fmla="*/ 460380 w 488799"/>
              <a:gd name="connsiteY308" fmla="*/ 358945 h 488823"/>
              <a:gd name="connsiteX309" fmla="*/ 463115 w 488799"/>
              <a:gd name="connsiteY309" fmla="*/ 353645 h 488823"/>
              <a:gd name="connsiteX310" fmla="*/ 464391 w 488799"/>
              <a:gd name="connsiteY310" fmla="*/ 351056 h 488823"/>
              <a:gd name="connsiteX311" fmla="*/ 464501 w 488799"/>
              <a:gd name="connsiteY311" fmla="*/ 350813 h 488823"/>
              <a:gd name="connsiteX312" fmla="*/ 465717 w 488799"/>
              <a:gd name="connsiteY312" fmla="*/ 348285 h 488823"/>
              <a:gd name="connsiteX313" fmla="*/ 466969 w 488799"/>
              <a:gd name="connsiteY313" fmla="*/ 345574 h 488823"/>
              <a:gd name="connsiteX314" fmla="*/ 468184 w 488799"/>
              <a:gd name="connsiteY314" fmla="*/ 342863 h 488823"/>
              <a:gd name="connsiteX315" fmla="*/ 468220 w 488799"/>
              <a:gd name="connsiteY315" fmla="*/ 342778 h 488823"/>
              <a:gd name="connsiteX316" fmla="*/ 470530 w 488799"/>
              <a:gd name="connsiteY316" fmla="*/ 337345 h 488823"/>
              <a:gd name="connsiteX317" fmla="*/ 472754 w 488799"/>
              <a:gd name="connsiteY317" fmla="*/ 331766 h 488823"/>
              <a:gd name="connsiteX318" fmla="*/ 473800 w 488799"/>
              <a:gd name="connsiteY318" fmla="*/ 328958 h 488823"/>
              <a:gd name="connsiteX319" fmla="*/ 474821 w 488799"/>
              <a:gd name="connsiteY319" fmla="*/ 326126 h 488823"/>
              <a:gd name="connsiteX320" fmla="*/ 475817 w 488799"/>
              <a:gd name="connsiteY320" fmla="*/ 323281 h 488823"/>
              <a:gd name="connsiteX321" fmla="*/ 476401 w 488799"/>
              <a:gd name="connsiteY321" fmla="*/ 321519 h 488823"/>
              <a:gd name="connsiteX322" fmla="*/ 477215 w 488799"/>
              <a:gd name="connsiteY322" fmla="*/ 319027 h 488823"/>
              <a:gd name="connsiteX323" fmla="*/ 478078 w 488799"/>
              <a:gd name="connsiteY323" fmla="*/ 316231 h 488823"/>
              <a:gd name="connsiteX324" fmla="*/ 479257 w 488799"/>
              <a:gd name="connsiteY324" fmla="*/ 312293 h 488823"/>
              <a:gd name="connsiteX325" fmla="*/ 479549 w 488799"/>
              <a:gd name="connsiteY325" fmla="*/ 311284 h 488823"/>
              <a:gd name="connsiteX326" fmla="*/ 480230 w 488799"/>
              <a:gd name="connsiteY326" fmla="*/ 308816 h 488823"/>
              <a:gd name="connsiteX327" fmla="*/ 481761 w 488799"/>
              <a:gd name="connsiteY327" fmla="*/ 302933 h 488823"/>
              <a:gd name="connsiteX328" fmla="*/ 483135 w 488799"/>
              <a:gd name="connsiteY328" fmla="*/ 297001 h 488823"/>
              <a:gd name="connsiteX329" fmla="*/ 483779 w 488799"/>
              <a:gd name="connsiteY329" fmla="*/ 293999 h 488823"/>
              <a:gd name="connsiteX330" fmla="*/ 484375 w 488799"/>
              <a:gd name="connsiteY330" fmla="*/ 290997 h 488823"/>
              <a:gd name="connsiteX331" fmla="*/ 484934 w 488799"/>
              <a:gd name="connsiteY331" fmla="*/ 287970 h 488823"/>
              <a:gd name="connsiteX332" fmla="*/ 485457 w 488799"/>
              <a:gd name="connsiteY332" fmla="*/ 284944 h 488823"/>
              <a:gd name="connsiteX333" fmla="*/ 486393 w 488799"/>
              <a:gd name="connsiteY333" fmla="*/ 278842 h 488823"/>
              <a:gd name="connsiteX334" fmla="*/ 486806 w 488799"/>
              <a:gd name="connsiteY334" fmla="*/ 275766 h 488823"/>
              <a:gd name="connsiteX335" fmla="*/ 487523 w 488799"/>
              <a:gd name="connsiteY335" fmla="*/ 269604 h 488823"/>
              <a:gd name="connsiteX336" fmla="*/ 487815 w 488799"/>
              <a:gd name="connsiteY336" fmla="*/ 266504 h 488823"/>
              <a:gd name="connsiteX337" fmla="*/ 488277 w 488799"/>
              <a:gd name="connsiteY337" fmla="*/ 260694 h 488823"/>
              <a:gd name="connsiteX338" fmla="*/ 488301 w 488799"/>
              <a:gd name="connsiteY338" fmla="*/ 260147 h 488823"/>
              <a:gd name="connsiteX339" fmla="*/ 488459 w 488799"/>
              <a:gd name="connsiteY339" fmla="*/ 257521 h 488823"/>
              <a:gd name="connsiteX340" fmla="*/ 488532 w 488799"/>
              <a:gd name="connsiteY340" fmla="*/ 256087 h 488823"/>
              <a:gd name="connsiteX341" fmla="*/ 488617 w 488799"/>
              <a:gd name="connsiteY341" fmla="*/ 253972 h 488823"/>
              <a:gd name="connsiteX342" fmla="*/ 488726 w 488799"/>
              <a:gd name="connsiteY342" fmla="*/ 250386 h 488823"/>
              <a:gd name="connsiteX343" fmla="*/ 488763 w 488799"/>
              <a:gd name="connsiteY343" fmla="*/ 247651 h 488823"/>
              <a:gd name="connsiteX344" fmla="*/ 488799 w 488799"/>
              <a:gd name="connsiteY344" fmla="*/ 244479 h 488823"/>
              <a:gd name="connsiteX345" fmla="*/ 488763 w 488799"/>
              <a:gd name="connsiteY345" fmla="*/ 241306 h 488823"/>
              <a:gd name="connsiteX346" fmla="*/ 488726 w 488799"/>
              <a:gd name="connsiteY346" fmla="*/ 238571 h 488823"/>
              <a:gd name="connsiteX347" fmla="*/ 379426 w 488799"/>
              <a:gd name="connsiteY347" fmla="*/ 146823 h 488823"/>
              <a:gd name="connsiteX348" fmla="*/ 372911 w 488799"/>
              <a:gd name="connsiteY348" fmla="*/ 149157 h 488823"/>
              <a:gd name="connsiteX349" fmla="*/ 364962 w 488799"/>
              <a:gd name="connsiteY349" fmla="*/ 145401 h 488823"/>
              <a:gd name="connsiteX350" fmla="*/ 333808 w 488799"/>
              <a:gd name="connsiteY350" fmla="*/ 116545 h 488823"/>
              <a:gd name="connsiteX351" fmla="*/ 256026 w 488799"/>
              <a:gd name="connsiteY351" fmla="*/ 88867 h 488823"/>
              <a:gd name="connsiteX352" fmla="*/ 244418 w 488799"/>
              <a:gd name="connsiteY352" fmla="*/ 88417 h 488823"/>
              <a:gd name="connsiteX353" fmla="*/ 234159 w 488799"/>
              <a:gd name="connsiteY353" fmla="*/ 78146 h 488823"/>
              <a:gd name="connsiteX354" fmla="*/ 244418 w 488799"/>
              <a:gd name="connsiteY354" fmla="*/ 67887 h 488823"/>
              <a:gd name="connsiteX355" fmla="*/ 256026 w 488799"/>
              <a:gd name="connsiteY355" fmla="*/ 68264 h 488823"/>
              <a:gd name="connsiteX356" fmla="*/ 333808 w 488799"/>
              <a:gd name="connsiteY356" fmla="*/ 92137 h 488823"/>
              <a:gd name="connsiteX357" fmla="*/ 380848 w 488799"/>
              <a:gd name="connsiteY357" fmla="*/ 132359 h 488823"/>
              <a:gd name="connsiteX358" fmla="*/ 379426 w 488799"/>
              <a:gd name="connsiteY358" fmla="*/ 146823 h 488823"/>
              <a:gd name="connsiteX359" fmla="*/ 410690 w 488799"/>
              <a:gd name="connsiteY359" fmla="*/ 254689 h 488823"/>
              <a:gd name="connsiteX360" fmla="*/ 400419 w 488799"/>
              <a:gd name="connsiteY360" fmla="*/ 244418 h 488823"/>
              <a:gd name="connsiteX361" fmla="*/ 390172 w 488799"/>
              <a:gd name="connsiteY361" fmla="*/ 188674 h 488823"/>
              <a:gd name="connsiteX362" fmla="*/ 396091 w 488799"/>
              <a:gd name="connsiteY362" fmla="*/ 175400 h 488823"/>
              <a:gd name="connsiteX363" fmla="*/ 409353 w 488799"/>
              <a:gd name="connsiteY363" fmla="*/ 181320 h 488823"/>
              <a:gd name="connsiteX364" fmla="*/ 420973 w 488799"/>
              <a:gd name="connsiteY364" fmla="*/ 244418 h 488823"/>
              <a:gd name="connsiteX365" fmla="*/ 410702 w 488799"/>
              <a:gd name="connsiteY365" fmla="*/ 254689 h 48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Lst>
            <a:rect l="l" t="t" r="r" b="b"/>
            <a:pathLst>
              <a:path w="488799" h="488823">
                <a:moveTo>
                  <a:pt x="488751" y="238510"/>
                </a:moveTo>
                <a:cubicBezTo>
                  <a:pt x="488714" y="237307"/>
                  <a:pt x="488678" y="236116"/>
                  <a:pt x="488641" y="234925"/>
                </a:cubicBezTo>
                <a:cubicBezTo>
                  <a:pt x="488629" y="234207"/>
                  <a:pt x="488593" y="233502"/>
                  <a:pt x="488556" y="232810"/>
                </a:cubicBezTo>
                <a:cubicBezTo>
                  <a:pt x="488532" y="232336"/>
                  <a:pt x="488508" y="231849"/>
                  <a:pt x="488483" y="231375"/>
                </a:cubicBezTo>
                <a:cubicBezTo>
                  <a:pt x="488447" y="230500"/>
                  <a:pt x="488398" y="229625"/>
                  <a:pt x="488325" y="228750"/>
                </a:cubicBezTo>
                <a:cubicBezTo>
                  <a:pt x="488313" y="228567"/>
                  <a:pt x="488301" y="228397"/>
                  <a:pt x="488301" y="228203"/>
                </a:cubicBezTo>
                <a:cubicBezTo>
                  <a:pt x="488167" y="226258"/>
                  <a:pt x="488034" y="224325"/>
                  <a:pt x="487839" y="222393"/>
                </a:cubicBezTo>
                <a:cubicBezTo>
                  <a:pt x="487754" y="221359"/>
                  <a:pt x="487644" y="220326"/>
                  <a:pt x="487547" y="219293"/>
                </a:cubicBezTo>
                <a:cubicBezTo>
                  <a:pt x="487341" y="217227"/>
                  <a:pt x="487110" y="215172"/>
                  <a:pt x="486830" y="213130"/>
                </a:cubicBezTo>
                <a:cubicBezTo>
                  <a:pt x="486709" y="212097"/>
                  <a:pt x="486563" y="211076"/>
                  <a:pt x="486417" y="210055"/>
                </a:cubicBezTo>
                <a:cubicBezTo>
                  <a:pt x="486271" y="209034"/>
                  <a:pt x="486125" y="208013"/>
                  <a:pt x="485967" y="207004"/>
                </a:cubicBezTo>
                <a:cubicBezTo>
                  <a:pt x="485809" y="206032"/>
                  <a:pt x="485663" y="205059"/>
                  <a:pt x="485505" y="204099"/>
                </a:cubicBezTo>
                <a:cubicBezTo>
                  <a:pt x="485481" y="204014"/>
                  <a:pt x="485469" y="203929"/>
                  <a:pt x="485469" y="203844"/>
                </a:cubicBezTo>
                <a:cubicBezTo>
                  <a:pt x="485286" y="202871"/>
                  <a:pt x="485128" y="201899"/>
                  <a:pt x="484958" y="200939"/>
                </a:cubicBezTo>
                <a:cubicBezTo>
                  <a:pt x="484764" y="199930"/>
                  <a:pt x="484594" y="198921"/>
                  <a:pt x="484399" y="197912"/>
                </a:cubicBezTo>
                <a:cubicBezTo>
                  <a:pt x="484192" y="196915"/>
                  <a:pt x="483998" y="195906"/>
                  <a:pt x="483804" y="194910"/>
                </a:cubicBezTo>
                <a:cubicBezTo>
                  <a:pt x="483597" y="193901"/>
                  <a:pt x="483378" y="192904"/>
                  <a:pt x="483159" y="191907"/>
                </a:cubicBezTo>
                <a:cubicBezTo>
                  <a:pt x="482722" y="189914"/>
                  <a:pt x="482260" y="187932"/>
                  <a:pt x="481786" y="185975"/>
                </a:cubicBezTo>
                <a:cubicBezTo>
                  <a:pt x="481312" y="183994"/>
                  <a:pt x="480801" y="182049"/>
                  <a:pt x="480254" y="180092"/>
                </a:cubicBezTo>
                <a:cubicBezTo>
                  <a:pt x="480035" y="179266"/>
                  <a:pt x="479804" y="178451"/>
                  <a:pt x="479574" y="177625"/>
                </a:cubicBezTo>
                <a:cubicBezTo>
                  <a:pt x="479476" y="177284"/>
                  <a:pt x="479379" y="176944"/>
                  <a:pt x="479282" y="176616"/>
                </a:cubicBezTo>
                <a:cubicBezTo>
                  <a:pt x="478917" y="175291"/>
                  <a:pt x="478528" y="173990"/>
                  <a:pt x="478103" y="172678"/>
                </a:cubicBezTo>
                <a:cubicBezTo>
                  <a:pt x="477823" y="171754"/>
                  <a:pt x="477544" y="170854"/>
                  <a:pt x="477252" y="169930"/>
                </a:cubicBezTo>
                <a:cubicBezTo>
                  <a:pt x="476948" y="168946"/>
                  <a:pt x="476644" y="167973"/>
                  <a:pt x="476292" y="167013"/>
                </a:cubicBezTo>
                <a:cubicBezTo>
                  <a:pt x="475817" y="165591"/>
                  <a:pt x="475331" y="164193"/>
                  <a:pt x="474833" y="162783"/>
                </a:cubicBezTo>
                <a:cubicBezTo>
                  <a:pt x="474505" y="161835"/>
                  <a:pt x="474164" y="160899"/>
                  <a:pt x="473812" y="159951"/>
                </a:cubicBezTo>
                <a:cubicBezTo>
                  <a:pt x="473472" y="159015"/>
                  <a:pt x="473119" y="158079"/>
                  <a:pt x="472766" y="157143"/>
                </a:cubicBezTo>
                <a:cubicBezTo>
                  <a:pt x="472414" y="156207"/>
                  <a:pt x="472037" y="155283"/>
                  <a:pt x="471673" y="154347"/>
                </a:cubicBezTo>
                <a:cubicBezTo>
                  <a:pt x="471320" y="153411"/>
                  <a:pt x="470931" y="152500"/>
                  <a:pt x="470554" y="151564"/>
                </a:cubicBezTo>
                <a:cubicBezTo>
                  <a:pt x="469801" y="149741"/>
                  <a:pt x="469035" y="147929"/>
                  <a:pt x="468245" y="146130"/>
                </a:cubicBezTo>
                <a:cubicBezTo>
                  <a:pt x="468233" y="146106"/>
                  <a:pt x="468220" y="146070"/>
                  <a:pt x="468208" y="146045"/>
                </a:cubicBezTo>
                <a:cubicBezTo>
                  <a:pt x="467807" y="145134"/>
                  <a:pt x="467406" y="144246"/>
                  <a:pt x="466993" y="143335"/>
                </a:cubicBezTo>
                <a:cubicBezTo>
                  <a:pt x="466579" y="142423"/>
                  <a:pt x="466166" y="141536"/>
                  <a:pt x="465741" y="140624"/>
                </a:cubicBezTo>
                <a:cubicBezTo>
                  <a:pt x="465449" y="140004"/>
                  <a:pt x="465145" y="139360"/>
                  <a:pt x="464829" y="138740"/>
                </a:cubicBezTo>
                <a:cubicBezTo>
                  <a:pt x="464173" y="137391"/>
                  <a:pt x="463516" y="136042"/>
                  <a:pt x="462848" y="134705"/>
                </a:cubicBezTo>
                <a:cubicBezTo>
                  <a:pt x="462046" y="133112"/>
                  <a:pt x="461231" y="131544"/>
                  <a:pt x="460392" y="129964"/>
                </a:cubicBezTo>
                <a:cubicBezTo>
                  <a:pt x="459955" y="129162"/>
                  <a:pt x="459529" y="128347"/>
                  <a:pt x="459092" y="127533"/>
                </a:cubicBezTo>
                <a:cubicBezTo>
                  <a:pt x="458107" y="125734"/>
                  <a:pt x="457098" y="123947"/>
                  <a:pt x="456065" y="122172"/>
                </a:cubicBezTo>
                <a:cubicBezTo>
                  <a:pt x="455628" y="121407"/>
                  <a:pt x="455190" y="120641"/>
                  <a:pt x="454728" y="119875"/>
                </a:cubicBezTo>
                <a:cubicBezTo>
                  <a:pt x="453306" y="117493"/>
                  <a:pt x="451847" y="115122"/>
                  <a:pt x="450352" y="112776"/>
                </a:cubicBezTo>
                <a:cubicBezTo>
                  <a:pt x="449659" y="111707"/>
                  <a:pt x="448979" y="110637"/>
                  <a:pt x="448274" y="109567"/>
                </a:cubicBezTo>
                <a:cubicBezTo>
                  <a:pt x="443363" y="102177"/>
                  <a:pt x="438063" y="95054"/>
                  <a:pt x="432399" y="88247"/>
                </a:cubicBezTo>
                <a:cubicBezTo>
                  <a:pt x="431961" y="87724"/>
                  <a:pt x="431536" y="87202"/>
                  <a:pt x="431086" y="86679"/>
                </a:cubicBezTo>
                <a:cubicBezTo>
                  <a:pt x="430478" y="85938"/>
                  <a:pt x="429846" y="85208"/>
                  <a:pt x="429214" y="84479"/>
                </a:cubicBezTo>
                <a:cubicBezTo>
                  <a:pt x="429008" y="84236"/>
                  <a:pt x="428789" y="83993"/>
                  <a:pt x="428594" y="83750"/>
                </a:cubicBezTo>
                <a:cubicBezTo>
                  <a:pt x="427768" y="82802"/>
                  <a:pt x="426929" y="81878"/>
                  <a:pt x="426102" y="80942"/>
                </a:cubicBezTo>
                <a:cubicBezTo>
                  <a:pt x="424303" y="78948"/>
                  <a:pt x="422480" y="76979"/>
                  <a:pt x="420608" y="75059"/>
                </a:cubicBezTo>
                <a:cubicBezTo>
                  <a:pt x="419928" y="74354"/>
                  <a:pt x="419247" y="73637"/>
                  <a:pt x="418554" y="72956"/>
                </a:cubicBezTo>
                <a:cubicBezTo>
                  <a:pt x="417861" y="72251"/>
                  <a:pt x="417181" y="71546"/>
                  <a:pt x="416476" y="70865"/>
                </a:cubicBezTo>
                <a:cubicBezTo>
                  <a:pt x="415746" y="70136"/>
                  <a:pt x="415005" y="69419"/>
                  <a:pt x="414263" y="68714"/>
                </a:cubicBezTo>
                <a:cubicBezTo>
                  <a:pt x="413534" y="67997"/>
                  <a:pt x="412792" y="67291"/>
                  <a:pt x="412051" y="66611"/>
                </a:cubicBezTo>
                <a:cubicBezTo>
                  <a:pt x="410544" y="65176"/>
                  <a:pt x="409024" y="63779"/>
                  <a:pt x="407468" y="62393"/>
                </a:cubicBezTo>
                <a:cubicBezTo>
                  <a:pt x="406703" y="61700"/>
                  <a:pt x="405937" y="61032"/>
                  <a:pt x="405159" y="60351"/>
                </a:cubicBezTo>
                <a:cubicBezTo>
                  <a:pt x="404381" y="59670"/>
                  <a:pt x="403603" y="59002"/>
                  <a:pt x="402825" y="58333"/>
                </a:cubicBezTo>
                <a:cubicBezTo>
                  <a:pt x="401573" y="57263"/>
                  <a:pt x="400309" y="56206"/>
                  <a:pt x="399021" y="55173"/>
                </a:cubicBezTo>
                <a:cubicBezTo>
                  <a:pt x="398328" y="54589"/>
                  <a:pt x="397635" y="54018"/>
                  <a:pt x="396930" y="53471"/>
                </a:cubicBezTo>
                <a:cubicBezTo>
                  <a:pt x="387230" y="45692"/>
                  <a:pt x="376898" y="38666"/>
                  <a:pt x="366068" y="32430"/>
                </a:cubicBezTo>
                <a:cubicBezTo>
                  <a:pt x="364925" y="31762"/>
                  <a:pt x="363758" y="31105"/>
                  <a:pt x="362591" y="30461"/>
                </a:cubicBezTo>
                <a:cubicBezTo>
                  <a:pt x="361509" y="29865"/>
                  <a:pt x="360440" y="29270"/>
                  <a:pt x="359346" y="28699"/>
                </a:cubicBezTo>
                <a:cubicBezTo>
                  <a:pt x="358434" y="28212"/>
                  <a:pt x="357510" y="27726"/>
                  <a:pt x="356587" y="27252"/>
                </a:cubicBezTo>
                <a:cubicBezTo>
                  <a:pt x="355663" y="26766"/>
                  <a:pt x="354739" y="26292"/>
                  <a:pt x="353815" y="25830"/>
                </a:cubicBezTo>
                <a:cubicBezTo>
                  <a:pt x="351214" y="24517"/>
                  <a:pt x="348576" y="23265"/>
                  <a:pt x="345926" y="22050"/>
                </a:cubicBezTo>
                <a:cubicBezTo>
                  <a:pt x="344796" y="21527"/>
                  <a:pt x="343641" y="21016"/>
                  <a:pt x="342499" y="20506"/>
                </a:cubicBezTo>
                <a:cubicBezTo>
                  <a:pt x="341380" y="20020"/>
                  <a:pt x="340250" y="19533"/>
                  <a:pt x="339119" y="19059"/>
                </a:cubicBezTo>
                <a:cubicBezTo>
                  <a:pt x="338342" y="18731"/>
                  <a:pt x="337551" y="18391"/>
                  <a:pt x="336749" y="18075"/>
                </a:cubicBezTo>
                <a:cubicBezTo>
                  <a:pt x="335777" y="17662"/>
                  <a:pt x="334792" y="17273"/>
                  <a:pt x="333808" y="16884"/>
                </a:cubicBezTo>
                <a:cubicBezTo>
                  <a:pt x="309534" y="7342"/>
                  <a:pt x="283363" y="1556"/>
                  <a:pt x="256014" y="280"/>
                </a:cubicBezTo>
                <a:cubicBezTo>
                  <a:pt x="252173" y="97"/>
                  <a:pt x="248308" y="0"/>
                  <a:pt x="244430" y="0"/>
                </a:cubicBezTo>
                <a:cubicBezTo>
                  <a:pt x="242971" y="0"/>
                  <a:pt x="241537" y="12"/>
                  <a:pt x="240091" y="36"/>
                </a:cubicBezTo>
                <a:cubicBezTo>
                  <a:pt x="239033" y="49"/>
                  <a:pt x="237963" y="73"/>
                  <a:pt x="236894" y="109"/>
                </a:cubicBezTo>
                <a:cubicBezTo>
                  <a:pt x="233065" y="219"/>
                  <a:pt x="229260" y="425"/>
                  <a:pt x="225480" y="717"/>
                </a:cubicBezTo>
                <a:cubicBezTo>
                  <a:pt x="224690" y="766"/>
                  <a:pt x="223900" y="851"/>
                  <a:pt x="223110" y="912"/>
                </a:cubicBezTo>
                <a:cubicBezTo>
                  <a:pt x="222149" y="985"/>
                  <a:pt x="221213" y="1082"/>
                  <a:pt x="220253" y="1179"/>
                </a:cubicBezTo>
                <a:cubicBezTo>
                  <a:pt x="218940" y="1301"/>
                  <a:pt x="217616" y="1446"/>
                  <a:pt x="216291" y="1604"/>
                </a:cubicBezTo>
                <a:cubicBezTo>
                  <a:pt x="216242" y="1604"/>
                  <a:pt x="216206" y="1604"/>
                  <a:pt x="216157" y="1617"/>
                </a:cubicBezTo>
                <a:cubicBezTo>
                  <a:pt x="214881" y="1762"/>
                  <a:pt x="213604" y="1921"/>
                  <a:pt x="212328" y="2091"/>
                </a:cubicBezTo>
                <a:cubicBezTo>
                  <a:pt x="211076" y="2249"/>
                  <a:pt x="209824" y="2419"/>
                  <a:pt x="208584" y="2613"/>
                </a:cubicBezTo>
                <a:cubicBezTo>
                  <a:pt x="208487" y="2626"/>
                  <a:pt x="208365" y="2638"/>
                  <a:pt x="208268" y="2662"/>
                </a:cubicBezTo>
                <a:cubicBezTo>
                  <a:pt x="207174" y="2820"/>
                  <a:pt x="206080" y="2978"/>
                  <a:pt x="204998" y="3160"/>
                </a:cubicBezTo>
                <a:cubicBezTo>
                  <a:pt x="204634" y="3209"/>
                  <a:pt x="204257" y="3270"/>
                  <a:pt x="203880" y="3343"/>
                </a:cubicBezTo>
                <a:cubicBezTo>
                  <a:pt x="202786" y="3537"/>
                  <a:pt x="201692" y="3707"/>
                  <a:pt x="200610" y="3914"/>
                </a:cubicBezTo>
                <a:cubicBezTo>
                  <a:pt x="199674" y="4084"/>
                  <a:pt x="198751" y="4254"/>
                  <a:pt x="197815" y="4437"/>
                </a:cubicBezTo>
                <a:cubicBezTo>
                  <a:pt x="196866" y="4619"/>
                  <a:pt x="195943" y="4801"/>
                  <a:pt x="195007" y="4996"/>
                </a:cubicBezTo>
                <a:cubicBezTo>
                  <a:pt x="194873" y="5020"/>
                  <a:pt x="194751" y="5044"/>
                  <a:pt x="194618" y="5069"/>
                </a:cubicBezTo>
                <a:cubicBezTo>
                  <a:pt x="193694" y="5263"/>
                  <a:pt x="192782" y="5446"/>
                  <a:pt x="191859" y="5652"/>
                </a:cubicBezTo>
                <a:cubicBezTo>
                  <a:pt x="191786" y="5664"/>
                  <a:pt x="191700" y="5676"/>
                  <a:pt x="191628" y="5701"/>
                </a:cubicBezTo>
                <a:cubicBezTo>
                  <a:pt x="190692" y="5907"/>
                  <a:pt x="189768" y="6126"/>
                  <a:pt x="188832" y="6333"/>
                </a:cubicBezTo>
                <a:cubicBezTo>
                  <a:pt x="188516" y="6394"/>
                  <a:pt x="188200" y="6479"/>
                  <a:pt x="187884" y="6552"/>
                </a:cubicBezTo>
                <a:cubicBezTo>
                  <a:pt x="187009" y="6758"/>
                  <a:pt x="186133" y="6977"/>
                  <a:pt x="185270" y="7184"/>
                </a:cubicBezTo>
                <a:cubicBezTo>
                  <a:pt x="184043" y="7488"/>
                  <a:pt x="182815" y="7791"/>
                  <a:pt x="181599" y="8132"/>
                </a:cubicBezTo>
                <a:cubicBezTo>
                  <a:pt x="181539" y="8144"/>
                  <a:pt x="181490" y="8156"/>
                  <a:pt x="181429" y="8180"/>
                </a:cubicBezTo>
                <a:cubicBezTo>
                  <a:pt x="180396" y="8448"/>
                  <a:pt x="179375" y="8715"/>
                  <a:pt x="178354" y="9007"/>
                </a:cubicBezTo>
                <a:cubicBezTo>
                  <a:pt x="176616" y="9493"/>
                  <a:pt x="174878" y="10004"/>
                  <a:pt x="173164" y="10526"/>
                </a:cubicBezTo>
                <a:cubicBezTo>
                  <a:pt x="172228" y="10806"/>
                  <a:pt x="171292" y="11098"/>
                  <a:pt x="170368" y="11389"/>
                </a:cubicBezTo>
                <a:cubicBezTo>
                  <a:pt x="169651" y="11620"/>
                  <a:pt x="168934" y="11851"/>
                  <a:pt x="168229" y="12094"/>
                </a:cubicBezTo>
                <a:cubicBezTo>
                  <a:pt x="167366" y="12362"/>
                  <a:pt x="166503" y="12654"/>
                  <a:pt x="165652" y="12945"/>
                </a:cubicBezTo>
                <a:cubicBezTo>
                  <a:pt x="164777" y="13237"/>
                  <a:pt x="163877" y="13541"/>
                  <a:pt x="163002" y="13869"/>
                </a:cubicBezTo>
                <a:cubicBezTo>
                  <a:pt x="160571" y="14720"/>
                  <a:pt x="158176" y="15619"/>
                  <a:pt x="155794" y="16555"/>
                </a:cubicBezTo>
                <a:cubicBezTo>
                  <a:pt x="154809" y="16932"/>
                  <a:pt x="153837" y="17321"/>
                  <a:pt x="152889" y="17710"/>
                </a:cubicBezTo>
                <a:cubicBezTo>
                  <a:pt x="151467" y="18281"/>
                  <a:pt x="150069" y="18865"/>
                  <a:pt x="148671" y="19461"/>
                </a:cubicBezTo>
                <a:cubicBezTo>
                  <a:pt x="147492" y="19959"/>
                  <a:pt x="146325" y="20469"/>
                  <a:pt x="145158" y="20992"/>
                </a:cubicBezTo>
                <a:cubicBezTo>
                  <a:pt x="144113" y="21454"/>
                  <a:pt x="143079" y="21928"/>
                  <a:pt x="142046" y="22414"/>
                </a:cubicBezTo>
                <a:cubicBezTo>
                  <a:pt x="140515" y="23119"/>
                  <a:pt x="139007" y="23836"/>
                  <a:pt x="137500" y="24566"/>
                </a:cubicBezTo>
                <a:cubicBezTo>
                  <a:pt x="135446" y="25563"/>
                  <a:pt x="133416" y="26596"/>
                  <a:pt x="131398" y="27641"/>
                </a:cubicBezTo>
                <a:cubicBezTo>
                  <a:pt x="130268" y="28225"/>
                  <a:pt x="129150" y="28832"/>
                  <a:pt x="128031" y="29440"/>
                </a:cubicBezTo>
                <a:cubicBezTo>
                  <a:pt x="126925" y="30036"/>
                  <a:pt x="125807" y="30656"/>
                  <a:pt x="124701" y="31275"/>
                </a:cubicBezTo>
                <a:cubicBezTo>
                  <a:pt x="122841" y="32321"/>
                  <a:pt x="120993" y="33390"/>
                  <a:pt x="119170" y="34484"/>
                </a:cubicBezTo>
                <a:cubicBezTo>
                  <a:pt x="118575" y="34837"/>
                  <a:pt x="117967" y="35214"/>
                  <a:pt x="117371" y="35578"/>
                </a:cubicBezTo>
                <a:cubicBezTo>
                  <a:pt x="116545" y="36077"/>
                  <a:pt x="115706" y="36587"/>
                  <a:pt x="114891" y="37110"/>
                </a:cubicBezTo>
                <a:cubicBezTo>
                  <a:pt x="113883" y="37730"/>
                  <a:pt x="112874" y="38374"/>
                  <a:pt x="111877" y="39006"/>
                </a:cubicBezTo>
                <a:cubicBezTo>
                  <a:pt x="106346" y="42592"/>
                  <a:pt x="100974" y="46384"/>
                  <a:pt x="95771" y="50384"/>
                </a:cubicBezTo>
                <a:cubicBezTo>
                  <a:pt x="95066" y="50918"/>
                  <a:pt x="94386" y="51453"/>
                  <a:pt x="93693" y="51988"/>
                </a:cubicBezTo>
                <a:cubicBezTo>
                  <a:pt x="92526" y="52900"/>
                  <a:pt x="91395" y="53811"/>
                  <a:pt x="90265" y="54747"/>
                </a:cubicBezTo>
                <a:cubicBezTo>
                  <a:pt x="89280" y="55537"/>
                  <a:pt x="88308" y="56340"/>
                  <a:pt x="87360" y="57154"/>
                </a:cubicBezTo>
                <a:cubicBezTo>
                  <a:pt x="85330" y="58856"/>
                  <a:pt x="83336" y="60570"/>
                  <a:pt x="81379" y="62344"/>
                </a:cubicBezTo>
                <a:cubicBezTo>
                  <a:pt x="80529" y="63098"/>
                  <a:pt x="79678" y="63864"/>
                  <a:pt x="78851" y="64642"/>
                </a:cubicBezTo>
                <a:cubicBezTo>
                  <a:pt x="78207" y="65213"/>
                  <a:pt x="77575" y="65821"/>
                  <a:pt x="76931" y="66428"/>
                </a:cubicBezTo>
                <a:cubicBezTo>
                  <a:pt x="76432" y="66890"/>
                  <a:pt x="75934" y="67364"/>
                  <a:pt x="75436" y="67838"/>
                </a:cubicBezTo>
                <a:cubicBezTo>
                  <a:pt x="73831" y="69382"/>
                  <a:pt x="72239" y="70938"/>
                  <a:pt x="70671" y="72518"/>
                </a:cubicBezTo>
                <a:cubicBezTo>
                  <a:pt x="69795" y="73418"/>
                  <a:pt x="68908" y="74317"/>
                  <a:pt x="68045" y="75229"/>
                </a:cubicBezTo>
                <a:cubicBezTo>
                  <a:pt x="67182" y="76141"/>
                  <a:pt x="66307" y="77052"/>
                  <a:pt x="65456" y="77976"/>
                </a:cubicBezTo>
                <a:cubicBezTo>
                  <a:pt x="64593" y="78912"/>
                  <a:pt x="63742" y="79824"/>
                  <a:pt x="62891" y="80772"/>
                </a:cubicBezTo>
                <a:cubicBezTo>
                  <a:pt x="60363" y="83580"/>
                  <a:pt x="57895" y="86436"/>
                  <a:pt x="55501" y="89365"/>
                </a:cubicBezTo>
                <a:cubicBezTo>
                  <a:pt x="54699" y="90338"/>
                  <a:pt x="53909" y="91322"/>
                  <a:pt x="53118" y="92319"/>
                </a:cubicBezTo>
                <a:cubicBezTo>
                  <a:pt x="52122" y="93571"/>
                  <a:pt x="51125" y="94847"/>
                  <a:pt x="50153" y="96124"/>
                </a:cubicBezTo>
                <a:cubicBezTo>
                  <a:pt x="49593" y="96853"/>
                  <a:pt x="49046" y="97582"/>
                  <a:pt x="48487" y="98324"/>
                </a:cubicBezTo>
                <a:cubicBezTo>
                  <a:pt x="47734" y="99333"/>
                  <a:pt x="46980" y="100354"/>
                  <a:pt x="46239" y="101375"/>
                </a:cubicBezTo>
                <a:cubicBezTo>
                  <a:pt x="45497" y="102396"/>
                  <a:pt x="44768" y="103429"/>
                  <a:pt x="44038" y="104462"/>
                </a:cubicBezTo>
                <a:cubicBezTo>
                  <a:pt x="43346" y="105447"/>
                  <a:pt x="42665" y="106444"/>
                  <a:pt x="41984" y="107440"/>
                </a:cubicBezTo>
                <a:cubicBezTo>
                  <a:pt x="40538" y="109580"/>
                  <a:pt x="39116" y="111743"/>
                  <a:pt x="37730" y="113931"/>
                </a:cubicBezTo>
                <a:cubicBezTo>
                  <a:pt x="37134" y="114867"/>
                  <a:pt x="36539" y="115803"/>
                  <a:pt x="35967" y="116763"/>
                </a:cubicBezTo>
                <a:cubicBezTo>
                  <a:pt x="35469" y="117566"/>
                  <a:pt x="34983" y="118368"/>
                  <a:pt x="34497" y="119194"/>
                </a:cubicBezTo>
                <a:cubicBezTo>
                  <a:pt x="33828" y="120288"/>
                  <a:pt x="33196" y="121395"/>
                  <a:pt x="32552" y="122501"/>
                </a:cubicBezTo>
                <a:cubicBezTo>
                  <a:pt x="31956" y="123534"/>
                  <a:pt x="31361" y="124567"/>
                  <a:pt x="30789" y="125600"/>
                </a:cubicBezTo>
                <a:cubicBezTo>
                  <a:pt x="30279" y="126512"/>
                  <a:pt x="29780" y="127411"/>
                  <a:pt x="29294" y="128335"/>
                </a:cubicBezTo>
                <a:cubicBezTo>
                  <a:pt x="28759" y="129320"/>
                  <a:pt x="28237" y="130304"/>
                  <a:pt x="27726" y="131289"/>
                </a:cubicBezTo>
                <a:cubicBezTo>
                  <a:pt x="27203" y="132286"/>
                  <a:pt x="26693" y="133282"/>
                  <a:pt x="26195" y="134279"/>
                </a:cubicBezTo>
                <a:cubicBezTo>
                  <a:pt x="25684" y="135276"/>
                  <a:pt x="25186" y="136273"/>
                  <a:pt x="24699" y="137281"/>
                </a:cubicBezTo>
                <a:cubicBezTo>
                  <a:pt x="23229" y="140296"/>
                  <a:pt x="21819" y="143347"/>
                  <a:pt x="20457" y="146422"/>
                </a:cubicBezTo>
                <a:cubicBezTo>
                  <a:pt x="19801" y="147929"/>
                  <a:pt x="19157" y="149449"/>
                  <a:pt x="18512" y="150968"/>
                </a:cubicBezTo>
                <a:cubicBezTo>
                  <a:pt x="18427" y="151199"/>
                  <a:pt x="18318" y="151430"/>
                  <a:pt x="18233" y="151661"/>
                </a:cubicBezTo>
                <a:cubicBezTo>
                  <a:pt x="17042" y="154578"/>
                  <a:pt x="15899" y="157532"/>
                  <a:pt x="14805" y="160510"/>
                </a:cubicBezTo>
                <a:cubicBezTo>
                  <a:pt x="14234" y="162090"/>
                  <a:pt x="13662" y="163683"/>
                  <a:pt x="13115" y="165299"/>
                </a:cubicBezTo>
                <a:cubicBezTo>
                  <a:pt x="12568" y="166904"/>
                  <a:pt x="12034" y="168520"/>
                  <a:pt x="11511" y="170137"/>
                </a:cubicBezTo>
                <a:cubicBezTo>
                  <a:pt x="11000" y="171754"/>
                  <a:pt x="10502" y="173383"/>
                  <a:pt x="10016" y="175011"/>
                </a:cubicBezTo>
                <a:cubicBezTo>
                  <a:pt x="9773" y="175826"/>
                  <a:pt x="9530" y="176640"/>
                  <a:pt x="9299" y="177467"/>
                </a:cubicBezTo>
                <a:cubicBezTo>
                  <a:pt x="9068" y="178293"/>
                  <a:pt x="8837" y="179108"/>
                  <a:pt x="8618" y="179946"/>
                </a:cubicBezTo>
                <a:cubicBezTo>
                  <a:pt x="8387" y="180761"/>
                  <a:pt x="8168" y="181587"/>
                  <a:pt x="7950" y="182426"/>
                </a:cubicBezTo>
                <a:cubicBezTo>
                  <a:pt x="7719" y="183253"/>
                  <a:pt x="7512" y="184067"/>
                  <a:pt x="7317" y="184906"/>
                </a:cubicBezTo>
                <a:cubicBezTo>
                  <a:pt x="7099" y="185744"/>
                  <a:pt x="6892" y="186583"/>
                  <a:pt x="6710" y="187410"/>
                </a:cubicBezTo>
                <a:cubicBezTo>
                  <a:pt x="5920" y="190740"/>
                  <a:pt x="5190" y="194107"/>
                  <a:pt x="4522" y="197499"/>
                </a:cubicBezTo>
                <a:cubicBezTo>
                  <a:pt x="4206" y="199200"/>
                  <a:pt x="3878" y="200890"/>
                  <a:pt x="3586" y="202592"/>
                </a:cubicBezTo>
                <a:cubicBezTo>
                  <a:pt x="3294" y="204306"/>
                  <a:pt x="3014" y="206007"/>
                  <a:pt x="2759" y="207733"/>
                </a:cubicBezTo>
                <a:cubicBezTo>
                  <a:pt x="2504" y="209447"/>
                  <a:pt x="2261" y="211161"/>
                  <a:pt x="2030" y="212899"/>
                </a:cubicBezTo>
                <a:cubicBezTo>
                  <a:pt x="1920" y="213750"/>
                  <a:pt x="1811" y="214625"/>
                  <a:pt x="1714" y="215488"/>
                </a:cubicBezTo>
                <a:cubicBezTo>
                  <a:pt x="1519" y="217117"/>
                  <a:pt x="1349" y="218758"/>
                  <a:pt x="1191" y="220399"/>
                </a:cubicBezTo>
                <a:cubicBezTo>
                  <a:pt x="1058" y="221651"/>
                  <a:pt x="948" y="222903"/>
                  <a:pt x="851" y="224167"/>
                </a:cubicBezTo>
                <a:cubicBezTo>
                  <a:pt x="693" y="226112"/>
                  <a:pt x="559" y="228045"/>
                  <a:pt x="438" y="230002"/>
                </a:cubicBezTo>
                <a:cubicBezTo>
                  <a:pt x="377" y="230974"/>
                  <a:pt x="328" y="231959"/>
                  <a:pt x="280" y="232943"/>
                </a:cubicBezTo>
                <a:cubicBezTo>
                  <a:pt x="194" y="234900"/>
                  <a:pt x="109" y="236857"/>
                  <a:pt x="73" y="238826"/>
                </a:cubicBezTo>
                <a:cubicBezTo>
                  <a:pt x="49" y="239762"/>
                  <a:pt x="36" y="240686"/>
                  <a:pt x="12" y="241622"/>
                </a:cubicBezTo>
                <a:cubicBezTo>
                  <a:pt x="12" y="242558"/>
                  <a:pt x="0" y="243494"/>
                  <a:pt x="0" y="244430"/>
                </a:cubicBezTo>
                <a:cubicBezTo>
                  <a:pt x="0" y="246010"/>
                  <a:pt x="12" y="247578"/>
                  <a:pt x="49" y="249158"/>
                </a:cubicBezTo>
                <a:cubicBezTo>
                  <a:pt x="73" y="250568"/>
                  <a:pt x="109" y="251954"/>
                  <a:pt x="158" y="253340"/>
                </a:cubicBezTo>
                <a:cubicBezTo>
                  <a:pt x="170" y="253887"/>
                  <a:pt x="194" y="254434"/>
                  <a:pt x="219" y="254969"/>
                </a:cubicBezTo>
                <a:cubicBezTo>
                  <a:pt x="231" y="255540"/>
                  <a:pt x="255" y="256136"/>
                  <a:pt x="292" y="256707"/>
                </a:cubicBezTo>
                <a:cubicBezTo>
                  <a:pt x="328" y="257631"/>
                  <a:pt x="377" y="258542"/>
                  <a:pt x="450" y="259466"/>
                </a:cubicBezTo>
                <a:cubicBezTo>
                  <a:pt x="450" y="259539"/>
                  <a:pt x="450" y="259636"/>
                  <a:pt x="462" y="259721"/>
                </a:cubicBezTo>
                <a:cubicBezTo>
                  <a:pt x="632" y="262444"/>
                  <a:pt x="851" y="265155"/>
                  <a:pt x="1094" y="267853"/>
                </a:cubicBezTo>
                <a:cubicBezTo>
                  <a:pt x="1203" y="269044"/>
                  <a:pt x="1325" y="270224"/>
                  <a:pt x="1459" y="271415"/>
                </a:cubicBezTo>
                <a:cubicBezTo>
                  <a:pt x="1544" y="272278"/>
                  <a:pt x="1641" y="273141"/>
                  <a:pt x="1750" y="273992"/>
                </a:cubicBezTo>
                <a:cubicBezTo>
                  <a:pt x="1884" y="275146"/>
                  <a:pt x="2030" y="276289"/>
                  <a:pt x="2188" y="277444"/>
                </a:cubicBezTo>
                <a:cubicBezTo>
                  <a:pt x="2346" y="278574"/>
                  <a:pt x="2504" y="279717"/>
                  <a:pt x="2674" y="280835"/>
                </a:cubicBezTo>
                <a:cubicBezTo>
                  <a:pt x="2929" y="282610"/>
                  <a:pt x="3221" y="284372"/>
                  <a:pt x="3525" y="286135"/>
                </a:cubicBezTo>
                <a:cubicBezTo>
                  <a:pt x="3780" y="287642"/>
                  <a:pt x="4048" y="289149"/>
                  <a:pt x="4339" y="290644"/>
                </a:cubicBezTo>
                <a:cubicBezTo>
                  <a:pt x="4607" y="292018"/>
                  <a:pt x="4874" y="293404"/>
                  <a:pt x="5166" y="294777"/>
                </a:cubicBezTo>
                <a:cubicBezTo>
                  <a:pt x="5202" y="295020"/>
                  <a:pt x="5263" y="295275"/>
                  <a:pt x="5324" y="295531"/>
                </a:cubicBezTo>
                <a:cubicBezTo>
                  <a:pt x="5579" y="296698"/>
                  <a:pt x="5835" y="297852"/>
                  <a:pt x="6090" y="299007"/>
                </a:cubicBezTo>
                <a:cubicBezTo>
                  <a:pt x="6479" y="300685"/>
                  <a:pt x="6868" y="302338"/>
                  <a:pt x="7281" y="303991"/>
                </a:cubicBezTo>
                <a:cubicBezTo>
                  <a:pt x="7646" y="305462"/>
                  <a:pt x="8035" y="306908"/>
                  <a:pt x="8436" y="308367"/>
                </a:cubicBezTo>
                <a:cubicBezTo>
                  <a:pt x="8837" y="309825"/>
                  <a:pt x="9238" y="311272"/>
                  <a:pt x="9651" y="312718"/>
                </a:cubicBezTo>
                <a:cubicBezTo>
                  <a:pt x="10077" y="314165"/>
                  <a:pt x="10502" y="315599"/>
                  <a:pt x="10952" y="317033"/>
                </a:cubicBezTo>
                <a:cubicBezTo>
                  <a:pt x="11256" y="318030"/>
                  <a:pt x="11572" y="319027"/>
                  <a:pt x="11900" y="320011"/>
                </a:cubicBezTo>
                <a:cubicBezTo>
                  <a:pt x="12228" y="320996"/>
                  <a:pt x="12556" y="321993"/>
                  <a:pt x="12885" y="322977"/>
                </a:cubicBezTo>
                <a:cubicBezTo>
                  <a:pt x="13213" y="323962"/>
                  <a:pt x="13565" y="324946"/>
                  <a:pt x="13906" y="325919"/>
                </a:cubicBezTo>
                <a:cubicBezTo>
                  <a:pt x="14246" y="326903"/>
                  <a:pt x="14611" y="327876"/>
                  <a:pt x="14963" y="328836"/>
                </a:cubicBezTo>
                <a:cubicBezTo>
                  <a:pt x="15303" y="329821"/>
                  <a:pt x="15680" y="330781"/>
                  <a:pt x="16045" y="331741"/>
                </a:cubicBezTo>
                <a:cubicBezTo>
                  <a:pt x="16434" y="332738"/>
                  <a:pt x="16811" y="333723"/>
                  <a:pt x="17212" y="334707"/>
                </a:cubicBezTo>
                <a:cubicBezTo>
                  <a:pt x="17564" y="335619"/>
                  <a:pt x="17941" y="336518"/>
                  <a:pt x="18306" y="337430"/>
                </a:cubicBezTo>
                <a:cubicBezTo>
                  <a:pt x="18342" y="337527"/>
                  <a:pt x="18379" y="337637"/>
                  <a:pt x="18440" y="337734"/>
                </a:cubicBezTo>
                <a:cubicBezTo>
                  <a:pt x="18804" y="338609"/>
                  <a:pt x="19181" y="339484"/>
                  <a:pt x="19546" y="340359"/>
                </a:cubicBezTo>
                <a:cubicBezTo>
                  <a:pt x="20336" y="342195"/>
                  <a:pt x="21138" y="344030"/>
                  <a:pt x="21977" y="345853"/>
                </a:cubicBezTo>
                <a:cubicBezTo>
                  <a:pt x="22791" y="347665"/>
                  <a:pt x="23654" y="349476"/>
                  <a:pt x="24529" y="351275"/>
                </a:cubicBezTo>
                <a:cubicBezTo>
                  <a:pt x="24967" y="352186"/>
                  <a:pt x="25404" y="353074"/>
                  <a:pt x="25854" y="353973"/>
                </a:cubicBezTo>
                <a:cubicBezTo>
                  <a:pt x="26304" y="354848"/>
                  <a:pt x="26754" y="355748"/>
                  <a:pt x="27216" y="356623"/>
                </a:cubicBezTo>
                <a:cubicBezTo>
                  <a:pt x="27617" y="357413"/>
                  <a:pt x="28018" y="358179"/>
                  <a:pt x="28443" y="358957"/>
                </a:cubicBezTo>
                <a:cubicBezTo>
                  <a:pt x="28954" y="359941"/>
                  <a:pt x="29489" y="360926"/>
                  <a:pt x="30023" y="361911"/>
                </a:cubicBezTo>
                <a:cubicBezTo>
                  <a:pt x="30801" y="363333"/>
                  <a:pt x="31591" y="364731"/>
                  <a:pt x="32406" y="366141"/>
                </a:cubicBezTo>
                <a:cubicBezTo>
                  <a:pt x="32819" y="366870"/>
                  <a:pt x="33220" y="367587"/>
                  <a:pt x="33658" y="368292"/>
                </a:cubicBezTo>
                <a:cubicBezTo>
                  <a:pt x="34278" y="369362"/>
                  <a:pt x="34922" y="370419"/>
                  <a:pt x="35578" y="371489"/>
                </a:cubicBezTo>
                <a:cubicBezTo>
                  <a:pt x="36454" y="372960"/>
                  <a:pt x="37365" y="374394"/>
                  <a:pt x="38289" y="375828"/>
                </a:cubicBezTo>
                <a:cubicBezTo>
                  <a:pt x="39116" y="377141"/>
                  <a:pt x="39979" y="378442"/>
                  <a:pt x="40842" y="379742"/>
                </a:cubicBezTo>
                <a:cubicBezTo>
                  <a:pt x="41352" y="380508"/>
                  <a:pt x="41863" y="381274"/>
                  <a:pt x="42385" y="382028"/>
                </a:cubicBezTo>
                <a:cubicBezTo>
                  <a:pt x="42531" y="382246"/>
                  <a:pt x="42665" y="382465"/>
                  <a:pt x="42823" y="382660"/>
                </a:cubicBezTo>
                <a:cubicBezTo>
                  <a:pt x="43589" y="383766"/>
                  <a:pt x="44355" y="384884"/>
                  <a:pt x="45145" y="385978"/>
                </a:cubicBezTo>
                <a:cubicBezTo>
                  <a:pt x="46226" y="387510"/>
                  <a:pt x="47333" y="389029"/>
                  <a:pt x="48463" y="390536"/>
                </a:cubicBezTo>
                <a:cubicBezTo>
                  <a:pt x="49132" y="391411"/>
                  <a:pt x="49788" y="392299"/>
                  <a:pt x="50469" y="393162"/>
                </a:cubicBezTo>
                <a:cubicBezTo>
                  <a:pt x="50858" y="393684"/>
                  <a:pt x="51247" y="394195"/>
                  <a:pt x="51648" y="394705"/>
                </a:cubicBezTo>
                <a:cubicBezTo>
                  <a:pt x="52134" y="395313"/>
                  <a:pt x="52608" y="395921"/>
                  <a:pt x="53094" y="396517"/>
                </a:cubicBezTo>
                <a:cubicBezTo>
                  <a:pt x="54322" y="398072"/>
                  <a:pt x="55574" y="399604"/>
                  <a:pt x="56850" y="401123"/>
                </a:cubicBezTo>
                <a:cubicBezTo>
                  <a:pt x="57470" y="401877"/>
                  <a:pt x="58114" y="402631"/>
                  <a:pt x="58771" y="403384"/>
                </a:cubicBezTo>
                <a:cubicBezTo>
                  <a:pt x="59719" y="404490"/>
                  <a:pt x="60691" y="405597"/>
                  <a:pt x="61651" y="406691"/>
                </a:cubicBezTo>
                <a:cubicBezTo>
                  <a:pt x="62320" y="407444"/>
                  <a:pt x="62989" y="408198"/>
                  <a:pt x="63669" y="408939"/>
                </a:cubicBezTo>
                <a:cubicBezTo>
                  <a:pt x="64423" y="409766"/>
                  <a:pt x="65176" y="410580"/>
                  <a:pt x="65954" y="411407"/>
                </a:cubicBezTo>
                <a:cubicBezTo>
                  <a:pt x="66927" y="412464"/>
                  <a:pt x="67936" y="413510"/>
                  <a:pt x="68945" y="414543"/>
                </a:cubicBezTo>
                <a:cubicBezTo>
                  <a:pt x="69552" y="415187"/>
                  <a:pt x="70184" y="415819"/>
                  <a:pt x="70817" y="416463"/>
                </a:cubicBezTo>
                <a:cubicBezTo>
                  <a:pt x="71509" y="417168"/>
                  <a:pt x="72202" y="417861"/>
                  <a:pt x="72907" y="418554"/>
                </a:cubicBezTo>
                <a:cubicBezTo>
                  <a:pt x="74086" y="419709"/>
                  <a:pt x="75253" y="420851"/>
                  <a:pt x="76457" y="421970"/>
                </a:cubicBezTo>
                <a:cubicBezTo>
                  <a:pt x="77271" y="422748"/>
                  <a:pt x="78085" y="423513"/>
                  <a:pt x="78924" y="424255"/>
                </a:cubicBezTo>
                <a:cubicBezTo>
                  <a:pt x="79629" y="424923"/>
                  <a:pt x="80346" y="425568"/>
                  <a:pt x="81051" y="426212"/>
                </a:cubicBezTo>
                <a:cubicBezTo>
                  <a:pt x="82449" y="427488"/>
                  <a:pt x="83896" y="428740"/>
                  <a:pt x="85342" y="429980"/>
                </a:cubicBezTo>
                <a:cubicBezTo>
                  <a:pt x="86059" y="430588"/>
                  <a:pt x="86776" y="431208"/>
                  <a:pt x="87494" y="431803"/>
                </a:cubicBezTo>
                <a:cubicBezTo>
                  <a:pt x="87797" y="432071"/>
                  <a:pt x="88101" y="432326"/>
                  <a:pt x="88429" y="432581"/>
                </a:cubicBezTo>
                <a:cubicBezTo>
                  <a:pt x="89037" y="433104"/>
                  <a:pt x="89669" y="433614"/>
                  <a:pt x="90289" y="434113"/>
                </a:cubicBezTo>
                <a:cubicBezTo>
                  <a:pt x="91250" y="434891"/>
                  <a:pt x="92210" y="435657"/>
                  <a:pt x="93158" y="436422"/>
                </a:cubicBezTo>
                <a:cubicBezTo>
                  <a:pt x="95516" y="438282"/>
                  <a:pt x="97923" y="440093"/>
                  <a:pt x="100342" y="441868"/>
                </a:cubicBezTo>
                <a:cubicBezTo>
                  <a:pt x="102870" y="443715"/>
                  <a:pt x="105423" y="445514"/>
                  <a:pt x="108024" y="447265"/>
                </a:cubicBezTo>
                <a:cubicBezTo>
                  <a:pt x="109324" y="448128"/>
                  <a:pt x="110625" y="449003"/>
                  <a:pt x="111938" y="449842"/>
                </a:cubicBezTo>
                <a:cubicBezTo>
                  <a:pt x="113251" y="450693"/>
                  <a:pt x="114575" y="451543"/>
                  <a:pt x="115913" y="452358"/>
                </a:cubicBezTo>
                <a:cubicBezTo>
                  <a:pt x="117250" y="453184"/>
                  <a:pt x="118599" y="453999"/>
                  <a:pt x="119948" y="454813"/>
                </a:cubicBezTo>
                <a:cubicBezTo>
                  <a:pt x="121285" y="455603"/>
                  <a:pt x="122659" y="456393"/>
                  <a:pt x="124020" y="457171"/>
                </a:cubicBezTo>
                <a:cubicBezTo>
                  <a:pt x="125381" y="457949"/>
                  <a:pt x="126767" y="458703"/>
                  <a:pt x="128141" y="459457"/>
                </a:cubicBezTo>
                <a:cubicBezTo>
                  <a:pt x="129514" y="460210"/>
                  <a:pt x="130912" y="460952"/>
                  <a:pt x="132310" y="461669"/>
                </a:cubicBezTo>
                <a:cubicBezTo>
                  <a:pt x="133623" y="462349"/>
                  <a:pt x="134936" y="463018"/>
                  <a:pt x="136273" y="463662"/>
                </a:cubicBezTo>
                <a:cubicBezTo>
                  <a:pt x="136516" y="463808"/>
                  <a:pt x="136759" y="463917"/>
                  <a:pt x="137002" y="464015"/>
                </a:cubicBezTo>
                <a:cubicBezTo>
                  <a:pt x="138266" y="464659"/>
                  <a:pt x="139530" y="465255"/>
                  <a:pt x="140806" y="465850"/>
                </a:cubicBezTo>
                <a:cubicBezTo>
                  <a:pt x="142241" y="466519"/>
                  <a:pt x="143663" y="467175"/>
                  <a:pt x="145122" y="467819"/>
                </a:cubicBezTo>
                <a:cubicBezTo>
                  <a:pt x="146568" y="468476"/>
                  <a:pt x="148015" y="469096"/>
                  <a:pt x="149473" y="469703"/>
                </a:cubicBezTo>
                <a:cubicBezTo>
                  <a:pt x="150932" y="470323"/>
                  <a:pt x="152390" y="470931"/>
                  <a:pt x="153873" y="471515"/>
                </a:cubicBezTo>
                <a:cubicBezTo>
                  <a:pt x="155040" y="471989"/>
                  <a:pt x="156219" y="472450"/>
                  <a:pt x="157398" y="472876"/>
                </a:cubicBezTo>
                <a:cubicBezTo>
                  <a:pt x="157982" y="473107"/>
                  <a:pt x="158577" y="473326"/>
                  <a:pt x="159149" y="473544"/>
                </a:cubicBezTo>
                <a:cubicBezTo>
                  <a:pt x="160048" y="473873"/>
                  <a:pt x="160923" y="474201"/>
                  <a:pt x="161811" y="474517"/>
                </a:cubicBezTo>
                <a:cubicBezTo>
                  <a:pt x="162467" y="474760"/>
                  <a:pt x="163124" y="474991"/>
                  <a:pt x="163792" y="475222"/>
                </a:cubicBezTo>
                <a:cubicBezTo>
                  <a:pt x="166697" y="476243"/>
                  <a:pt x="169639" y="477215"/>
                  <a:pt x="172605" y="478115"/>
                </a:cubicBezTo>
                <a:cubicBezTo>
                  <a:pt x="173516" y="478394"/>
                  <a:pt x="174416" y="478662"/>
                  <a:pt x="175340" y="478929"/>
                </a:cubicBezTo>
                <a:cubicBezTo>
                  <a:pt x="176251" y="479197"/>
                  <a:pt x="177163" y="479464"/>
                  <a:pt x="178087" y="479719"/>
                </a:cubicBezTo>
                <a:cubicBezTo>
                  <a:pt x="182317" y="480911"/>
                  <a:pt x="186583" y="481992"/>
                  <a:pt x="190898" y="482953"/>
                </a:cubicBezTo>
                <a:cubicBezTo>
                  <a:pt x="193135" y="483451"/>
                  <a:pt x="195396" y="483925"/>
                  <a:pt x="197644" y="484375"/>
                </a:cubicBezTo>
                <a:cubicBezTo>
                  <a:pt x="200027" y="484837"/>
                  <a:pt x="202434" y="485250"/>
                  <a:pt x="204840" y="485651"/>
                </a:cubicBezTo>
                <a:cubicBezTo>
                  <a:pt x="205643" y="485797"/>
                  <a:pt x="206457" y="485906"/>
                  <a:pt x="207271" y="486028"/>
                </a:cubicBezTo>
                <a:cubicBezTo>
                  <a:pt x="208876" y="486271"/>
                  <a:pt x="210505" y="486502"/>
                  <a:pt x="212121" y="486721"/>
                </a:cubicBezTo>
                <a:cubicBezTo>
                  <a:pt x="213750" y="486940"/>
                  <a:pt x="215379" y="487146"/>
                  <a:pt x="217008" y="487316"/>
                </a:cubicBezTo>
                <a:cubicBezTo>
                  <a:pt x="217834" y="487401"/>
                  <a:pt x="218649" y="487499"/>
                  <a:pt x="219475" y="487572"/>
                </a:cubicBezTo>
                <a:cubicBezTo>
                  <a:pt x="221323" y="487766"/>
                  <a:pt x="223183" y="487924"/>
                  <a:pt x="225042" y="488082"/>
                </a:cubicBezTo>
                <a:cubicBezTo>
                  <a:pt x="226489" y="488192"/>
                  <a:pt x="227923" y="488289"/>
                  <a:pt x="229370" y="488374"/>
                </a:cubicBezTo>
                <a:cubicBezTo>
                  <a:pt x="230196" y="488423"/>
                  <a:pt x="231035" y="488471"/>
                  <a:pt x="231862" y="488520"/>
                </a:cubicBezTo>
                <a:cubicBezTo>
                  <a:pt x="232518" y="488556"/>
                  <a:pt x="233162" y="488581"/>
                  <a:pt x="233831" y="488605"/>
                </a:cubicBezTo>
                <a:cubicBezTo>
                  <a:pt x="234365" y="488629"/>
                  <a:pt x="234912" y="488653"/>
                  <a:pt x="235447" y="488666"/>
                </a:cubicBezTo>
                <a:cubicBezTo>
                  <a:pt x="236444" y="488702"/>
                  <a:pt x="237441" y="488739"/>
                  <a:pt x="238425" y="488751"/>
                </a:cubicBezTo>
                <a:cubicBezTo>
                  <a:pt x="239033" y="488775"/>
                  <a:pt x="239641" y="488775"/>
                  <a:pt x="240237" y="488787"/>
                </a:cubicBezTo>
                <a:cubicBezTo>
                  <a:pt x="240783" y="488799"/>
                  <a:pt x="241330" y="488811"/>
                  <a:pt x="241877" y="488811"/>
                </a:cubicBezTo>
                <a:cubicBezTo>
                  <a:pt x="242716" y="488824"/>
                  <a:pt x="243567" y="488824"/>
                  <a:pt x="244406" y="488824"/>
                </a:cubicBezTo>
                <a:cubicBezTo>
                  <a:pt x="245378" y="488824"/>
                  <a:pt x="246351" y="488824"/>
                  <a:pt x="247311" y="488811"/>
                </a:cubicBezTo>
                <a:cubicBezTo>
                  <a:pt x="248271" y="488799"/>
                  <a:pt x="249256" y="488787"/>
                  <a:pt x="250216" y="488751"/>
                </a:cubicBezTo>
                <a:cubicBezTo>
                  <a:pt x="251188" y="488726"/>
                  <a:pt x="252149" y="488702"/>
                  <a:pt x="253109" y="488666"/>
                </a:cubicBezTo>
                <a:cubicBezTo>
                  <a:pt x="254033" y="488641"/>
                  <a:pt x="254944" y="488605"/>
                  <a:pt x="255868" y="488556"/>
                </a:cubicBezTo>
                <a:lnTo>
                  <a:pt x="255977" y="488556"/>
                </a:lnTo>
                <a:cubicBezTo>
                  <a:pt x="283327" y="487280"/>
                  <a:pt x="309497" y="481494"/>
                  <a:pt x="333771" y="471952"/>
                </a:cubicBezTo>
                <a:cubicBezTo>
                  <a:pt x="334756" y="471575"/>
                  <a:pt x="335740" y="471174"/>
                  <a:pt x="336713" y="470761"/>
                </a:cubicBezTo>
                <a:cubicBezTo>
                  <a:pt x="337515" y="470445"/>
                  <a:pt x="338305" y="470105"/>
                  <a:pt x="339083" y="469776"/>
                </a:cubicBezTo>
                <a:cubicBezTo>
                  <a:pt x="344079" y="467686"/>
                  <a:pt x="348977" y="465425"/>
                  <a:pt x="353791" y="463006"/>
                </a:cubicBezTo>
                <a:cubicBezTo>
                  <a:pt x="354715" y="462544"/>
                  <a:pt x="355638" y="462070"/>
                  <a:pt x="356562" y="461584"/>
                </a:cubicBezTo>
                <a:cubicBezTo>
                  <a:pt x="357498" y="461110"/>
                  <a:pt x="358410" y="460623"/>
                  <a:pt x="359322" y="460137"/>
                </a:cubicBezTo>
                <a:cubicBezTo>
                  <a:pt x="360245" y="459639"/>
                  <a:pt x="361157" y="459153"/>
                  <a:pt x="362069" y="458654"/>
                </a:cubicBezTo>
                <a:cubicBezTo>
                  <a:pt x="362591" y="458363"/>
                  <a:pt x="363102" y="458071"/>
                  <a:pt x="363624" y="457791"/>
                </a:cubicBezTo>
                <a:cubicBezTo>
                  <a:pt x="364378" y="457366"/>
                  <a:pt x="365144" y="456953"/>
                  <a:pt x="365885" y="456503"/>
                </a:cubicBezTo>
                <a:cubicBezTo>
                  <a:pt x="368207" y="455178"/>
                  <a:pt x="370517" y="453792"/>
                  <a:pt x="372802" y="452382"/>
                </a:cubicBezTo>
                <a:cubicBezTo>
                  <a:pt x="373677" y="451835"/>
                  <a:pt x="374564" y="451288"/>
                  <a:pt x="375427" y="450741"/>
                </a:cubicBezTo>
                <a:cubicBezTo>
                  <a:pt x="377178" y="449635"/>
                  <a:pt x="378904" y="448505"/>
                  <a:pt x="380605" y="447350"/>
                </a:cubicBezTo>
                <a:cubicBezTo>
                  <a:pt x="381468" y="446779"/>
                  <a:pt x="382319" y="446183"/>
                  <a:pt x="383170" y="445599"/>
                </a:cubicBezTo>
                <a:cubicBezTo>
                  <a:pt x="384872" y="444420"/>
                  <a:pt x="386549" y="443241"/>
                  <a:pt x="388227" y="442014"/>
                </a:cubicBezTo>
                <a:cubicBezTo>
                  <a:pt x="388980" y="441467"/>
                  <a:pt x="389746" y="440908"/>
                  <a:pt x="390500" y="440324"/>
                </a:cubicBezTo>
                <a:cubicBezTo>
                  <a:pt x="393186" y="438331"/>
                  <a:pt x="395824" y="436276"/>
                  <a:pt x="398401" y="434174"/>
                </a:cubicBezTo>
                <a:cubicBezTo>
                  <a:pt x="399884" y="432970"/>
                  <a:pt x="401342" y="431767"/>
                  <a:pt x="402789" y="430527"/>
                </a:cubicBezTo>
                <a:cubicBezTo>
                  <a:pt x="403567" y="429859"/>
                  <a:pt x="404345" y="429190"/>
                  <a:pt x="405123" y="428509"/>
                </a:cubicBezTo>
                <a:cubicBezTo>
                  <a:pt x="407456" y="426491"/>
                  <a:pt x="409741" y="424413"/>
                  <a:pt x="411990" y="422286"/>
                </a:cubicBezTo>
                <a:cubicBezTo>
                  <a:pt x="412744" y="421581"/>
                  <a:pt x="413485" y="420864"/>
                  <a:pt x="414227" y="420159"/>
                </a:cubicBezTo>
                <a:cubicBezTo>
                  <a:pt x="414968" y="419441"/>
                  <a:pt x="415710" y="418724"/>
                  <a:pt x="416439" y="418007"/>
                </a:cubicBezTo>
                <a:cubicBezTo>
                  <a:pt x="417144" y="417314"/>
                  <a:pt x="417825" y="416621"/>
                  <a:pt x="418518" y="415916"/>
                </a:cubicBezTo>
                <a:cubicBezTo>
                  <a:pt x="419210" y="415224"/>
                  <a:pt x="419891" y="414506"/>
                  <a:pt x="420572" y="413814"/>
                </a:cubicBezTo>
                <a:cubicBezTo>
                  <a:pt x="421945" y="412391"/>
                  <a:pt x="423295" y="410969"/>
                  <a:pt x="424607" y="409511"/>
                </a:cubicBezTo>
                <a:cubicBezTo>
                  <a:pt x="425252" y="408818"/>
                  <a:pt x="425884" y="408125"/>
                  <a:pt x="426528" y="407420"/>
                </a:cubicBezTo>
                <a:cubicBezTo>
                  <a:pt x="427209" y="406654"/>
                  <a:pt x="427877" y="405888"/>
                  <a:pt x="428558" y="405123"/>
                </a:cubicBezTo>
                <a:cubicBezTo>
                  <a:pt x="429141" y="404442"/>
                  <a:pt x="429725" y="403773"/>
                  <a:pt x="430308" y="403093"/>
                </a:cubicBezTo>
                <a:cubicBezTo>
                  <a:pt x="430393" y="402995"/>
                  <a:pt x="430478" y="402886"/>
                  <a:pt x="430563" y="402789"/>
                </a:cubicBezTo>
                <a:cubicBezTo>
                  <a:pt x="431815" y="401318"/>
                  <a:pt x="433043" y="399847"/>
                  <a:pt x="434247" y="398364"/>
                </a:cubicBezTo>
                <a:cubicBezTo>
                  <a:pt x="434866" y="397598"/>
                  <a:pt x="435474" y="396833"/>
                  <a:pt x="436082" y="396067"/>
                </a:cubicBezTo>
                <a:cubicBezTo>
                  <a:pt x="436082" y="396067"/>
                  <a:pt x="436094" y="396058"/>
                  <a:pt x="436106" y="396043"/>
                </a:cubicBezTo>
                <a:cubicBezTo>
                  <a:pt x="436702" y="395277"/>
                  <a:pt x="437322" y="394511"/>
                  <a:pt x="437905" y="393733"/>
                </a:cubicBezTo>
                <a:cubicBezTo>
                  <a:pt x="438513" y="392955"/>
                  <a:pt x="439109" y="392177"/>
                  <a:pt x="439704" y="391387"/>
                </a:cubicBezTo>
                <a:cubicBezTo>
                  <a:pt x="440288" y="390597"/>
                  <a:pt x="440883" y="389819"/>
                  <a:pt x="441467" y="389017"/>
                </a:cubicBezTo>
                <a:cubicBezTo>
                  <a:pt x="442050" y="388227"/>
                  <a:pt x="442634" y="387437"/>
                  <a:pt x="443205" y="386634"/>
                </a:cubicBezTo>
                <a:cubicBezTo>
                  <a:pt x="443776" y="385832"/>
                  <a:pt x="444347" y="385030"/>
                  <a:pt x="444919" y="384228"/>
                </a:cubicBezTo>
                <a:cubicBezTo>
                  <a:pt x="445490" y="383413"/>
                  <a:pt x="446049" y="382611"/>
                  <a:pt x="446596" y="381784"/>
                </a:cubicBezTo>
                <a:cubicBezTo>
                  <a:pt x="447155" y="380970"/>
                  <a:pt x="447702" y="380156"/>
                  <a:pt x="448262" y="379329"/>
                </a:cubicBezTo>
                <a:cubicBezTo>
                  <a:pt x="450486" y="375962"/>
                  <a:pt x="452625" y="372546"/>
                  <a:pt x="454692" y="369082"/>
                </a:cubicBezTo>
                <a:cubicBezTo>
                  <a:pt x="455154" y="368304"/>
                  <a:pt x="455615" y="367526"/>
                  <a:pt x="456053" y="366736"/>
                </a:cubicBezTo>
                <a:cubicBezTo>
                  <a:pt x="457086" y="364962"/>
                  <a:pt x="458095" y="363175"/>
                  <a:pt x="459080" y="361376"/>
                </a:cubicBezTo>
                <a:cubicBezTo>
                  <a:pt x="459517" y="360574"/>
                  <a:pt x="459943" y="359759"/>
                  <a:pt x="460380" y="358945"/>
                </a:cubicBezTo>
                <a:cubicBezTo>
                  <a:pt x="461316" y="357194"/>
                  <a:pt x="462216" y="355420"/>
                  <a:pt x="463115" y="353645"/>
                </a:cubicBezTo>
                <a:cubicBezTo>
                  <a:pt x="463553" y="352794"/>
                  <a:pt x="463966" y="351919"/>
                  <a:pt x="464391" y="351056"/>
                </a:cubicBezTo>
                <a:cubicBezTo>
                  <a:pt x="464428" y="350971"/>
                  <a:pt x="464464" y="350886"/>
                  <a:pt x="464501" y="350813"/>
                </a:cubicBezTo>
                <a:cubicBezTo>
                  <a:pt x="464914" y="349974"/>
                  <a:pt x="465315" y="349123"/>
                  <a:pt x="465717" y="348285"/>
                </a:cubicBezTo>
                <a:cubicBezTo>
                  <a:pt x="466142" y="347373"/>
                  <a:pt x="466555" y="346486"/>
                  <a:pt x="466969" y="345574"/>
                </a:cubicBezTo>
                <a:cubicBezTo>
                  <a:pt x="467382" y="344662"/>
                  <a:pt x="467783" y="343775"/>
                  <a:pt x="468184" y="342863"/>
                </a:cubicBezTo>
                <a:cubicBezTo>
                  <a:pt x="468196" y="342839"/>
                  <a:pt x="468208" y="342802"/>
                  <a:pt x="468220" y="342778"/>
                </a:cubicBezTo>
                <a:cubicBezTo>
                  <a:pt x="469011" y="340979"/>
                  <a:pt x="469776" y="339168"/>
                  <a:pt x="470530" y="337345"/>
                </a:cubicBezTo>
                <a:cubicBezTo>
                  <a:pt x="471308" y="335497"/>
                  <a:pt x="472037" y="333637"/>
                  <a:pt x="472754" y="331766"/>
                </a:cubicBezTo>
                <a:cubicBezTo>
                  <a:pt x="473107" y="330830"/>
                  <a:pt x="473459" y="329894"/>
                  <a:pt x="473800" y="328958"/>
                </a:cubicBezTo>
                <a:cubicBezTo>
                  <a:pt x="474152" y="328010"/>
                  <a:pt x="474493" y="327074"/>
                  <a:pt x="474821" y="326126"/>
                </a:cubicBezTo>
                <a:cubicBezTo>
                  <a:pt x="475161" y="325177"/>
                  <a:pt x="475501" y="324241"/>
                  <a:pt x="475817" y="323281"/>
                </a:cubicBezTo>
                <a:cubicBezTo>
                  <a:pt x="476024" y="322698"/>
                  <a:pt x="476219" y="322102"/>
                  <a:pt x="476401" y="321519"/>
                </a:cubicBezTo>
                <a:cubicBezTo>
                  <a:pt x="476693" y="320692"/>
                  <a:pt x="476960" y="319853"/>
                  <a:pt x="477215" y="319027"/>
                </a:cubicBezTo>
                <a:cubicBezTo>
                  <a:pt x="477507" y="318091"/>
                  <a:pt x="477799" y="317167"/>
                  <a:pt x="478078" y="316231"/>
                </a:cubicBezTo>
                <a:cubicBezTo>
                  <a:pt x="478504" y="314918"/>
                  <a:pt x="478881" y="313618"/>
                  <a:pt x="479257" y="312293"/>
                </a:cubicBezTo>
                <a:cubicBezTo>
                  <a:pt x="479355" y="311965"/>
                  <a:pt x="479452" y="311624"/>
                  <a:pt x="479549" y="311284"/>
                </a:cubicBezTo>
                <a:cubicBezTo>
                  <a:pt x="479780" y="310470"/>
                  <a:pt x="480011" y="309655"/>
                  <a:pt x="480230" y="308816"/>
                </a:cubicBezTo>
                <a:cubicBezTo>
                  <a:pt x="480777" y="306859"/>
                  <a:pt x="481287" y="304902"/>
                  <a:pt x="481761" y="302933"/>
                </a:cubicBezTo>
                <a:cubicBezTo>
                  <a:pt x="482248" y="300964"/>
                  <a:pt x="482710" y="298995"/>
                  <a:pt x="483135" y="297001"/>
                </a:cubicBezTo>
                <a:cubicBezTo>
                  <a:pt x="483354" y="296005"/>
                  <a:pt x="483573" y="295008"/>
                  <a:pt x="483779" y="293999"/>
                </a:cubicBezTo>
                <a:cubicBezTo>
                  <a:pt x="483986" y="293002"/>
                  <a:pt x="484180" y="291994"/>
                  <a:pt x="484375" y="290997"/>
                </a:cubicBezTo>
                <a:cubicBezTo>
                  <a:pt x="484569" y="289988"/>
                  <a:pt x="484740" y="288979"/>
                  <a:pt x="484934" y="287970"/>
                </a:cubicBezTo>
                <a:cubicBezTo>
                  <a:pt x="485116" y="286961"/>
                  <a:pt x="485274" y="285952"/>
                  <a:pt x="485457" y="284944"/>
                </a:cubicBezTo>
                <a:cubicBezTo>
                  <a:pt x="485797" y="282914"/>
                  <a:pt x="486125" y="280884"/>
                  <a:pt x="486393" y="278842"/>
                </a:cubicBezTo>
                <a:cubicBezTo>
                  <a:pt x="486538" y="277821"/>
                  <a:pt x="486672" y="276799"/>
                  <a:pt x="486806" y="275766"/>
                </a:cubicBezTo>
                <a:cubicBezTo>
                  <a:pt x="487085" y="273724"/>
                  <a:pt x="487316" y="271670"/>
                  <a:pt x="487523" y="269604"/>
                </a:cubicBezTo>
                <a:cubicBezTo>
                  <a:pt x="487620" y="268570"/>
                  <a:pt x="487730" y="267537"/>
                  <a:pt x="487815" y="266504"/>
                </a:cubicBezTo>
                <a:cubicBezTo>
                  <a:pt x="488009" y="264571"/>
                  <a:pt x="488143" y="262639"/>
                  <a:pt x="488277" y="260694"/>
                </a:cubicBezTo>
                <a:cubicBezTo>
                  <a:pt x="488277" y="260499"/>
                  <a:pt x="488289" y="260329"/>
                  <a:pt x="488301" y="260147"/>
                </a:cubicBezTo>
                <a:cubicBezTo>
                  <a:pt x="488362" y="259272"/>
                  <a:pt x="488410" y="258396"/>
                  <a:pt x="488459" y="257521"/>
                </a:cubicBezTo>
                <a:cubicBezTo>
                  <a:pt x="488483" y="257047"/>
                  <a:pt x="488508" y="256561"/>
                  <a:pt x="488532" y="256087"/>
                </a:cubicBezTo>
                <a:cubicBezTo>
                  <a:pt x="488556" y="255382"/>
                  <a:pt x="488593" y="254677"/>
                  <a:pt x="488617" y="253972"/>
                </a:cubicBezTo>
                <a:cubicBezTo>
                  <a:pt x="488653" y="252781"/>
                  <a:pt x="488690" y="251589"/>
                  <a:pt x="488726" y="250386"/>
                </a:cubicBezTo>
                <a:cubicBezTo>
                  <a:pt x="488738" y="249474"/>
                  <a:pt x="488763" y="248563"/>
                  <a:pt x="488763" y="247651"/>
                </a:cubicBezTo>
                <a:cubicBezTo>
                  <a:pt x="488787" y="246594"/>
                  <a:pt x="488799" y="245536"/>
                  <a:pt x="488799" y="244479"/>
                </a:cubicBezTo>
                <a:cubicBezTo>
                  <a:pt x="488799" y="243421"/>
                  <a:pt x="488787" y="242364"/>
                  <a:pt x="488763" y="241306"/>
                </a:cubicBezTo>
                <a:cubicBezTo>
                  <a:pt x="488763" y="240394"/>
                  <a:pt x="488738" y="239483"/>
                  <a:pt x="488726" y="238571"/>
                </a:cubicBezTo>
                <a:close/>
                <a:moveTo>
                  <a:pt x="379426" y="146823"/>
                </a:moveTo>
                <a:cubicBezTo>
                  <a:pt x="377530" y="148391"/>
                  <a:pt x="375196" y="149157"/>
                  <a:pt x="372911" y="149157"/>
                </a:cubicBezTo>
                <a:cubicBezTo>
                  <a:pt x="369933" y="149157"/>
                  <a:pt x="367004" y="147881"/>
                  <a:pt x="364962" y="145401"/>
                </a:cubicBezTo>
                <a:cubicBezTo>
                  <a:pt x="355809" y="134267"/>
                  <a:pt x="345306" y="124604"/>
                  <a:pt x="333808" y="116545"/>
                </a:cubicBezTo>
                <a:cubicBezTo>
                  <a:pt x="310992" y="100573"/>
                  <a:pt x="284214" y="90958"/>
                  <a:pt x="256026" y="88867"/>
                </a:cubicBezTo>
                <a:cubicBezTo>
                  <a:pt x="252185" y="88575"/>
                  <a:pt x="248320" y="88417"/>
                  <a:pt x="244418" y="88417"/>
                </a:cubicBezTo>
                <a:cubicBezTo>
                  <a:pt x="238754" y="88417"/>
                  <a:pt x="234159" y="83823"/>
                  <a:pt x="234159" y="78146"/>
                </a:cubicBezTo>
                <a:cubicBezTo>
                  <a:pt x="234159" y="72470"/>
                  <a:pt x="238754" y="67887"/>
                  <a:pt x="244418" y="67887"/>
                </a:cubicBezTo>
                <a:cubicBezTo>
                  <a:pt x="248308" y="67887"/>
                  <a:pt x="252173" y="68033"/>
                  <a:pt x="256026" y="68264"/>
                </a:cubicBezTo>
                <a:cubicBezTo>
                  <a:pt x="283764" y="70075"/>
                  <a:pt x="310312" y="78341"/>
                  <a:pt x="333808" y="92137"/>
                </a:cubicBezTo>
                <a:cubicBezTo>
                  <a:pt x="351481" y="102530"/>
                  <a:pt x="367429" y="116058"/>
                  <a:pt x="380848" y="132359"/>
                </a:cubicBezTo>
                <a:cubicBezTo>
                  <a:pt x="384446" y="136734"/>
                  <a:pt x="383826" y="143213"/>
                  <a:pt x="379426" y="146823"/>
                </a:cubicBezTo>
                <a:close/>
                <a:moveTo>
                  <a:pt x="410690" y="254689"/>
                </a:moveTo>
                <a:cubicBezTo>
                  <a:pt x="405025" y="254689"/>
                  <a:pt x="400419" y="250094"/>
                  <a:pt x="400419" y="244418"/>
                </a:cubicBezTo>
                <a:cubicBezTo>
                  <a:pt x="400419" y="225213"/>
                  <a:pt x="396966" y="206445"/>
                  <a:pt x="390172" y="188674"/>
                </a:cubicBezTo>
                <a:cubicBezTo>
                  <a:pt x="388142" y="183374"/>
                  <a:pt x="390791" y="177430"/>
                  <a:pt x="396091" y="175400"/>
                </a:cubicBezTo>
                <a:cubicBezTo>
                  <a:pt x="401391" y="173383"/>
                  <a:pt x="407335" y="176020"/>
                  <a:pt x="409353" y="181320"/>
                </a:cubicBezTo>
                <a:cubicBezTo>
                  <a:pt x="417059" y="201449"/>
                  <a:pt x="420973" y="222672"/>
                  <a:pt x="420973" y="244418"/>
                </a:cubicBezTo>
                <a:cubicBezTo>
                  <a:pt x="420973" y="250094"/>
                  <a:pt x="416378" y="254689"/>
                  <a:pt x="410702" y="254689"/>
                </a:cubicBezTo>
                <a:close/>
              </a:path>
            </a:pathLst>
          </a:custGeom>
          <a:solidFill>
            <a:srgbClr val="71DA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3" name="Freeform: Shape 92">
            <a:extLst>
              <a:ext uri="{FF2B5EF4-FFF2-40B4-BE49-F238E27FC236}">
                <a16:creationId xmlns:a16="http://schemas.microsoft.com/office/drawing/2014/main" id="{60B25AC6-D8E4-A45B-5556-CDAB491BC42A}"/>
              </a:ext>
            </a:extLst>
          </p:cNvPr>
          <p:cNvSpPr/>
          <p:nvPr/>
        </p:nvSpPr>
        <p:spPr>
          <a:xfrm>
            <a:off x="11489246" y="2198203"/>
            <a:ext cx="86454" cy="297255"/>
          </a:xfrm>
          <a:custGeom>
            <a:avLst/>
            <a:gdLst>
              <a:gd name="connsiteX0" fmla="*/ 167598 w 178758"/>
              <a:gd name="connsiteY0" fmla="*/ 410933 h 427767"/>
              <a:gd name="connsiteX1" fmla="*/ 138304 w 178758"/>
              <a:gd name="connsiteY1" fmla="*/ 427257 h 427767"/>
              <a:gd name="connsiteX2" fmla="*/ 131375 w 178758"/>
              <a:gd name="connsiteY2" fmla="*/ 427768 h 427767"/>
              <a:gd name="connsiteX3" fmla="*/ 47394 w 178758"/>
              <a:gd name="connsiteY3" fmla="*/ 427768 h 427767"/>
              <a:gd name="connsiteX4" fmla="*/ 13 w 178758"/>
              <a:gd name="connsiteY4" fmla="*/ 379244 h 427767"/>
              <a:gd name="connsiteX5" fmla="*/ 110 w 178758"/>
              <a:gd name="connsiteY5" fmla="*/ 374990 h 427767"/>
              <a:gd name="connsiteX6" fmla="*/ 1156 w 178758"/>
              <a:gd name="connsiteY6" fmla="*/ 331170 h 427767"/>
              <a:gd name="connsiteX7" fmla="*/ 1168 w 178758"/>
              <a:gd name="connsiteY7" fmla="*/ 331170 h 427767"/>
              <a:gd name="connsiteX8" fmla="*/ 4729 w 178758"/>
              <a:gd name="connsiteY8" fmla="*/ 181551 h 427767"/>
              <a:gd name="connsiteX9" fmla="*/ 6407 w 178758"/>
              <a:gd name="connsiteY9" fmla="*/ 111683 h 427767"/>
              <a:gd name="connsiteX10" fmla="*/ 7391 w 178758"/>
              <a:gd name="connsiteY10" fmla="*/ 102919 h 427767"/>
              <a:gd name="connsiteX11" fmla="*/ 14976 w 178758"/>
              <a:gd name="connsiteY11" fmla="*/ 84771 h 427767"/>
              <a:gd name="connsiteX12" fmla="*/ 21273 w 178758"/>
              <a:gd name="connsiteY12" fmla="*/ 77149 h 427767"/>
              <a:gd name="connsiteX13" fmla="*/ 21333 w 178758"/>
              <a:gd name="connsiteY13" fmla="*/ 77089 h 427767"/>
              <a:gd name="connsiteX14" fmla="*/ 21419 w 178758"/>
              <a:gd name="connsiteY14" fmla="*/ 77004 h 427767"/>
              <a:gd name="connsiteX15" fmla="*/ 40575 w 178758"/>
              <a:gd name="connsiteY15" fmla="*/ 65176 h 427767"/>
              <a:gd name="connsiteX16" fmla="*/ 40575 w 178758"/>
              <a:gd name="connsiteY16" fmla="*/ 12 h 427767"/>
              <a:gd name="connsiteX17" fmla="*/ 89391 w 178758"/>
              <a:gd name="connsiteY17" fmla="*/ 3574 h 427767"/>
              <a:gd name="connsiteX18" fmla="*/ 100975 w 178758"/>
              <a:gd name="connsiteY18" fmla="*/ 3367 h 427767"/>
              <a:gd name="connsiteX19" fmla="*/ 138267 w 178758"/>
              <a:gd name="connsiteY19" fmla="*/ 0 h 427767"/>
              <a:gd name="connsiteX20" fmla="*/ 138267 w 178758"/>
              <a:gd name="connsiteY20" fmla="*/ 65201 h 427767"/>
              <a:gd name="connsiteX21" fmla="*/ 172362 w 178758"/>
              <a:gd name="connsiteY21" fmla="*/ 111695 h 427767"/>
              <a:gd name="connsiteX22" fmla="*/ 177614 w 178758"/>
              <a:gd name="connsiteY22" fmla="*/ 331182 h 427767"/>
              <a:gd name="connsiteX23" fmla="*/ 178744 w 178758"/>
              <a:gd name="connsiteY23" fmla="*/ 379256 h 427767"/>
              <a:gd name="connsiteX24" fmla="*/ 167585 w 178758"/>
              <a:gd name="connsiteY24" fmla="*/ 410945 h 42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58" h="427767">
                <a:moveTo>
                  <a:pt x="167598" y="410933"/>
                </a:moveTo>
                <a:cubicBezTo>
                  <a:pt x="160317" y="419563"/>
                  <a:pt x="150021" y="425543"/>
                  <a:pt x="138304" y="427257"/>
                </a:cubicBezTo>
                <a:cubicBezTo>
                  <a:pt x="136043" y="427598"/>
                  <a:pt x="133721" y="427768"/>
                  <a:pt x="131375" y="427768"/>
                </a:cubicBezTo>
                <a:lnTo>
                  <a:pt x="47394" y="427768"/>
                </a:lnTo>
                <a:cubicBezTo>
                  <a:pt x="20787" y="427768"/>
                  <a:pt x="-607" y="405852"/>
                  <a:pt x="13" y="379244"/>
                </a:cubicBezTo>
                <a:lnTo>
                  <a:pt x="110" y="374990"/>
                </a:lnTo>
                <a:lnTo>
                  <a:pt x="1156" y="331170"/>
                </a:lnTo>
                <a:lnTo>
                  <a:pt x="1168" y="331170"/>
                </a:lnTo>
                <a:lnTo>
                  <a:pt x="4729" y="181551"/>
                </a:lnTo>
                <a:lnTo>
                  <a:pt x="6407" y="111683"/>
                </a:lnTo>
                <a:cubicBezTo>
                  <a:pt x="6468" y="108680"/>
                  <a:pt x="6820" y="105763"/>
                  <a:pt x="7391" y="102919"/>
                </a:cubicBezTo>
                <a:cubicBezTo>
                  <a:pt x="8716" y="96306"/>
                  <a:pt x="11330" y="90168"/>
                  <a:pt x="14976" y="84771"/>
                </a:cubicBezTo>
                <a:cubicBezTo>
                  <a:pt x="16824" y="82024"/>
                  <a:pt x="18939" y="79471"/>
                  <a:pt x="21273" y="77149"/>
                </a:cubicBezTo>
                <a:cubicBezTo>
                  <a:pt x="21297" y="77125"/>
                  <a:pt x="21309" y="77101"/>
                  <a:pt x="21333" y="77089"/>
                </a:cubicBezTo>
                <a:cubicBezTo>
                  <a:pt x="21358" y="77052"/>
                  <a:pt x="21394" y="77028"/>
                  <a:pt x="21419" y="77004"/>
                </a:cubicBezTo>
                <a:cubicBezTo>
                  <a:pt x="26779" y="71728"/>
                  <a:pt x="33306" y="67644"/>
                  <a:pt x="40575" y="65176"/>
                </a:cubicBezTo>
                <a:lnTo>
                  <a:pt x="40575" y="12"/>
                </a:lnTo>
                <a:cubicBezTo>
                  <a:pt x="56511" y="2346"/>
                  <a:pt x="72799" y="3574"/>
                  <a:pt x="89391" y="3574"/>
                </a:cubicBezTo>
                <a:cubicBezTo>
                  <a:pt x="93268" y="3574"/>
                  <a:pt x="97134" y="3513"/>
                  <a:pt x="100975" y="3367"/>
                </a:cubicBezTo>
                <a:cubicBezTo>
                  <a:pt x="113604" y="2929"/>
                  <a:pt x="126039" y="1799"/>
                  <a:pt x="138267" y="0"/>
                </a:cubicBezTo>
                <a:lnTo>
                  <a:pt x="138267" y="65201"/>
                </a:lnTo>
                <a:cubicBezTo>
                  <a:pt x="157715" y="71850"/>
                  <a:pt x="171852" y="90034"/>
                  <a:pt x="172362" y="111695"/>
                </a:cubicBezTo>
                <a:lnTo>
                  <a:pt x="177614" y="331182"/>
                </a:lnTo>
                <a:lnTo>
                  <a:pt x="178744" y="379256"/>
                </a:lnTo>
                <a:cubicBezTo>
                  <a:pt x="179036" y="391314"/>
                  <a:pt x="174806" y="402424"/>
                  <a:pt x="167585" y="410945"/>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4" name="Rectangle 93">
            <a:extLst>
              <a:ext uri="{FF2B5EF4-FFF2-40B4-BE49-F238E27FC236}">
                <a16:creationId xmlns:a16="http://schemas.microsoft.com/office/drawing/2014/main" id="{749713F7-2E0C-044D-4B53-2DD6E8CFB7AF}"/>
              </a:ext>
            </a:extLst>
          </p:cNvPr>
          <p:cNvSpPr/>
          <p:nvPr/>
        </p:nvSpPr>
        <p:spPr>
          <a:xfrm>
            <a:off x="457200" y="6158033"/>
            <a:ext cx="9912129" cy="50074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Aptos" panose="02110004020202020204"/>
                <a:ea typeface="+mn-ea"/>
                <a:cs typeface="+mn-cs"/>
              </a:rPr>
              <a:t>Impact: If it is treated that Vodafone is acting as a principal in managed services revenue, it will lead to over-statement of revenue and ultimately EBITDA &amp; Operating profit. Appropriate SOX controls need to be in place to avoid this error. </a:t>
            </a:r>
            <a:endParaRPr kumimoji="0" lang="en-GB" sz="1200" b="0" i="0" u="none" strike="noStrike" kern="1200" cap="none" spc="0" normalizeH="0" baseline="0" noProof="0" dirty="0">
              <a:ln>
                <a:noFill/>
              </a:ln>
              <a:solidFill>
                <a:srgbClr val="FF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2696308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A6958-DC3E-43ED-EB2E-2541E8CD3AF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DAE4686-89D8-FCD1-F952-03C2C26AB8B7}"/>
              </a:ext>
            </a:extLst>
          </p:cNvPr>
          <p:cNvSpPr>
            <a:spLocks noGrp="1"/>
          </p:cNvSpPr>
          <p:nvPr>
            <p:ph type="body" sz="quarter" idx="13"/>
          </p:nvPr>
        </p:nvSpPr>
        <p:spPr>
          <a:xfrm>
            <a:off x="457200" y="682940"/>
            <a:ext cx="11283696" cy="757255"/>
          </a:xfrm>
        </p:spPr>
        <p:txBody>
          <a:bodyPr/>
          <a:lstStyle/>
          <a:p>
            <a:r>
              <a:rPr lang="en-GB" b="1" dirty="0">
                <a:solidFill>
                  <a:srgbClr val="FF0000"/>
                </a:solidFill>
              </a:rPr>
              <a:t>Step 4 – Allocate the transaction price to the performance obligations</a:t>
            </a:r>
          </a:p>
        </p:txBody>
      </p:sp>
      <p:sp>
        <p:nvSpPr>
          <p:cNvPr id="107" name="Rectangle 106">
            <a:extLst>
              <a:ext uri="{FF2B5EF4-FFF2-40B4-BE49-F238E27FC236}">
                <a16:creationId xmlns:a16="http://schemas.microsoft.com/office/drawing/2014/main" id="{0EF9AEB3-BE0F-A462-B83F-1273E2E763EF}"/>
              </a:ext>
            </a:extLst>
          </p:cNvPr>
          <p:cNvSpPr/>
          <p:nvPr/>
        </p:nvSpPr>
        <p:spPr bwMode="gray">
          <a:xfrm>
            <a:off x="457200" y="2655277"/>
            <a:ext cx="4783015" cy="25380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43BE5685-5525-3419-C169-700BDE87BA7E}"/>
              </a:ext>
            </a:extLst>
          </p:cNvPr>
          <p:cNvSpPr txBox="1">
            <a:spLocks/>
          </p:cNvSpPr>
          <p:nvPr/>
        </p:nvSpPr>
        <p:spPr>
          <a:xfrm>
            <a:off x="619368" y="1374481"/>
            <a:ext cx="10151413" cy="1077138"/>
          </a:xfrm>
          <a:prstGeom prst="roundRect">
            <a:avLst>
              <a:gd name="adj" fmla="val 9761"/>
            </a:avLst>
          </a:prstGeom>
          <a:solidFill>
            <a:schemeClr val="bg1">
              <a:lumMod val="95000"/>
            </a:schemeClr>
          </a:solidFill>
          <a:ln w="19050" algn="ctr">
            <a:noFill/>
            <a:miter lim="800000"/>
            <a:headEnd/>
            <a:tailEnd/>
          </a:ln>
        </p:spPr>
        <p:txBody>
          <a:bodyPr wrap="square" lIns="548640" tIns="88900" rIns="88900" bIns="88900" rtlCol="0" anchor="ctr"/>
          <a:lstStyle>
            <a:defPPr>
              <a:defRPr lang="en-US"/>
            </a:defPPr>
            <a:lvl1pPr algn="ctr">
              <a:lnSpc>
                <a:spcPct val="106000"/>
              </a:lnSpc>
              <a:buFont typeface="Wingdings 2" pitchFamily="18" charset="2"/>
              <a:buNone/>
              <a:defRPr sz="1600" b="1">
                <a:solidFill>
                  <a:schemeClr val="bg1"/>
                </a:solidFill>
              </a:defRPr>
            </a:lvl1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Vodafone determines the standalone selling price for goods and services at contract inception to allocate the total transaction price, prioritizing observable market prices for similar customers. When prices are not directly observable, the company applies estimation methods—including </a:t>
            </a: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adjusted market assessment</a:t>
            </a: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cost plus margin</a:t>
            </a: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and the </a:t>
            </a: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residual approach</a:t>
            </a: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consistently across similar circumstances.</a:t>
            </a:r>
            <a:endPar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3CFD494E-00E3-D53C-0987-C73E3387F696}"/>
              </a:ext>
            </a:extLst>
          </p:cNvPr>
          <p:cNvSpPr/>
          <p:nvPr/>
        </p:nvSpPr>
        <p:spPr bwMode="gray">
          <a:xfrm>
            <a:off x="619370" y="1064500"/>
            <a:ext cx="10151412" cy="375695"/>
          </a:xfrm>
          <a:prstGeom prst="rect">
            <a:avLst/>
          </a:prstGeom>
          <a:solidFill>
            <a:srgbClr val="FF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ptos" panose="02110004020202020204"/>
                <a:ea typeface="+mn-ea"/>
                <a:cs typeface="+mn-cs"/>
              </a:rPr>
              <a:t>Allocation of transaction price to the performance obligations</a:t>
            </a:r>
          </a:p>
        </p:txBody>
      </p:sp>
      <p:sp>
        <p:nvSpPr>
          <p:cNvPr id="8" name="TextBox 7">
            <a:extLst>
              <a:ext uri="{FF2B5EF4-FFF2-40B4-BE49-F238E27FC236}">
                <a16:creationId xmlns:a16="http://schemas.microsoft.com/office/drawing/2014/main" id="{7CA8E654-3CA7-CB37-DBE5-350B76C8875E}"/>
              </a:ext>
            </a:extLst>
          </p:cNvPr>
          <p:cNvSpPr txBox="1">
            <a:spLocks/>
          </p:cNvSpPr>
          <p:nvPr/>
        </p:nvSpPr>
        <p:spPr>
          <a:xfrm>
            <a:off x="551548" y="3428999"/>
            <a:ext cx="10219233" cy="2074849"/>
          </a:xfrm>
          <a:prstGeom prst="roundRect">
            <a:avLst>
              <a:gd name="adj" fmla="val 9761"/>
            </a:avLst>
          </a:prstGeom>
          <a:solidFill>
            <a:schemeClr val="bg1">
              <a:lumMod val="95000"/>
            </a:schemeClr>
          </a:solidFill>
          <a:ln w="19050" algn="ctr">
            <a:noFill/>
            <a:miter lim="800000"/>
            <a:headEnd/>
            <a:tailEnd/>
          </a:ln>
        </p:spPr>
        <p:txBody>
          <a:bodyPr wrap="square" lIns="548640" tIns="88900" rIns="88900" bIns="88900" rtlCol="0" anchor="ctr"/>
          <a:lstStyle>
            <a:defPPr>
              <a:defRPr lang="en-US"/>
            </a:defPPr>
            <a:lvl1pPr algn="ctr">
              <a:lnSpc>
                <a:spcPct val="106000"/>
              </a:lnSpc>
              <a:buFont typeface="Wingdings 2" pitchFamily="18" charset="2"/>
              <a:buNone/>
              <a:defRPr sz="1600" b="1">
                <a:solidFill>
                  <a:schemeClr val="bg1"/>
                </a:solidFill>
              </a:defRPr>
            </a:lvl1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The end devices are optionally offered with a mobile phone contract. If the customer opts for a mobile phone contract together with the DLM product, they receive a 10% discount on the price of the mobile phone contract. Vodafone shall allocate a discount entirely to one or more, but not all, performance obligations in the contract if all of the following criteria are met. </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6000"/>
              </a:lnSpc>
              <a:spcBef>
                <a:spcPts val="0"/>
              </a:spcBef>
              <a:spcAft>
                <a:spcPts val="0"/>
              </a:spcAft>
              <a:buClrTx/>
              <a:buSzTx/>
              <a:buFont typeface="Wingdings 2" pitchFamily="18" charset="2"/>
              <a:buAutoNum type="alphaLcParenR"/>
              <a:tabLst/>
              <a:defRPr/>
            </a:pP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Stand-alone Sales</a:t>
            </a: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Vodafone regularly sells both the mobile phone contract and the DLM product separately.</a:t>
            </a:r>
          </a:p>
          <a:p>
            <a:pPr marL="228600" marR="0" lvl="0" indent="-228600" algn="l" defTabSz="914400" rtl="0" eaLnBrk="1" fontAlgn="auto" latinLnBrk="0" hangingPunct="1">
              <a:lnSpc>
                <a:spcPct val="106000"/>
              </a:lnSpc>
              <a:spcBef>
                <a:spcPts val="0"/>
              </a:spcBef>
              <a:spcAft>
                <a:spcPts val="0"/>
              </a:spcAft>
              <a:buClrTx/>
              <a:buSzTx/>
              <a:buFont typeface="Wingdings 2" pitchFamily="18" charset="2"/>
              <a:buAutoNum type="alphaLcParenR"/>
              <a:tabLst/>
              <a:defRPr/>
            </a:pP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Regular Bundled Discounts</a:t>
            </a: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Vodafone also regularly offers discounts on other bundles involving these types of goods or services.</a:t>
            </a:r>
          </a:p>
          <a:p>
            <a:pPr marL="228600" marR="0" lvl="0" indent="-228600" algn="l" defTabSz="914400" rtl="0" eaLnBrk="1" fontAlgn="auto" latinLnBrk="0" hangingPunct="1">
              <a:lnSpc>
                <a:spcPct val="106000"/>
              </a:lnSpc>
              <a:spcBef>
                <a:spcPts val="0"/>
              </a:spcBef>
              <a:spcAft>
                <a:spcPts val="0"/>
              </a:spcAft>
              <a:buClrTx/>
              <a:buSzTx/>
              <a:buFont typeface="Wingdings 2" pitchFamily="18" charset="2"/>
              <a:buAutoNum type="alphaLcParenR"/>
              <a:tabLst/>
              <a:defRPr/>
            </a:pP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Observable Discount Allocation</a:t>
            </a: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The 10% discount in this specific contract is consistent with those other bundled discounts, and it's clear that the discount is specifically attributable to the mobile phone contract.</a:t>
            </a:r>
          </a:p>
          <a:p>
            <a:pPr marL="228600" marR="0" lvl="0" indent="-228600" algn="l" defTabSz="914400" rtl="0" eaLnBrk="1" fontAlgn="auto" latinLnBrk="0" hangingPunct="1">
              <a:lnSpc>
                <a:spcPct val="106000"/>
              </a:lnSpc>
              <a:spcBef>
                <a:spcPts val="0"/>
              </a:spcBef>
              <a:spcAft>
                <a:spcPts val="0"/>
              </a:spcAft>
              <a:buClrTx/>
              <a:buSzTx/>
              <a:buFont typeface="Wingdings 2" pitchFamily="18" charset="2"/>
              <a:buAutoNum type="alphaLcParenR"/>
              <a:tabLst/>
              <a:defRPr/>
            </a:pP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Aptos" panose="02110004020202020204"/>
                <a:ea typeface="+mn-ea"/>
                <a:cs typeface="+mn-cs"/>
              </a:rPr>
              <a:t>Conclusion</a:t>
            </a: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Assuming that none of the conditions above are fulfilled, Vodafone shall allocate the  discount proportionately to all performance obligations in the contract.</a:t>
            </a:r>
            <a:endPar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6000"/>
              </a:lnSpc>
              <a:spcBef>
                <a:spcPts val="0"/>
              </a:spcBef>
              <a:spcAft>
                <a:spcPts val="0"/>
              </a:spcAft>
              <a:buClrTx/>
              <a:buSzTx/>
              <a:buFont typeface="Wingdings 2" pitchFamily="18" charset="2"/>
              <a:buAutoNum type="alphaLcParenR"/>
              <a:tabLst/>
              <a:defRPr/>
            </a:pPr>
            <a:endPar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6000"/>
              </a:lnSpc>
              <a:spcBef>
                <a:spcPts val="0"/>
              </a:spcBef>
              <a:spcAft>
                <a:spcPts val="0"/>
              </a:spcAft>
              <a:buClrTx/>
              <a:buSzTx/>
              <a:buFont typeface="Wingdings 2" pitchFamily="18" charset="2"/>
              <a:buAutoNum type="alphaLcParenR"/>
              <a:tabLst/>
              <a:defRPr/>
            </a:pPr>
            <a:endParaRPr kumimoji="0" lang="en-GB" sz="10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 name="Rectangle 14">
            <a:extLst>
              <a:ext uri="{FF2B5EF4-FFF2-40B4-BE49-F238E27FC236}">
                <a16:creationId xmlns:a16="http://schemas.microsoft.com/office/drawing/2014/main" id="{390D57D5-7F05-B6D5-DEF7-5E53FAAECFF0}"/>
              </a:ext>
            </a:extLst>
          </p:cNvPr>
          <p:cNvSpPr/>
          <p:nvPr/>
        </p:nvSpPr>
        <p:spPr bwMode="gray">
          <a:xfrm>
            <a:off x="606106" y="2965803"/>
            <a:ext cx="10164675" cy="463197"/>
          </a:xfrm>
          <a:prstGeom prst="rect">
            <a:avLst/>
          </a:prstGeom>
          <a:solidFill>
            <a:srgbClr val="FF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ptos" panose="02110004020202020204"/>
                <a:ea typeface="+mn-ea"/>
                <a:cs typeface="+mn-cs"/>
              </a:rPr>
              <a:t>Allocation of discount to the performance obligations</a:t>
            </a:r>
          </a:p>
        </p:txBody>
      </p:sp>
      <p:grpSp>
        <p:nvGrpSpPr>
          <p:cNvPr id="6" name="Group 5">
            <a:extLst>
              <a:ext uri="{FF2B5EF4-FFF2-40B4-BE49-F238E27FC236}">
                <a16:creationId xmlns:a16="http://schemas.microsoft.com/office/drawing/2014/main" id="{B196D246-4869-FE62-C931-13E7C3A62E14}"/>
              </a:ext>
            </a:extLst>
          </p:cNvPr>
          <p:cNvGrpSpPr/>
          <p:nvPr/>
        </p:nvGrpSpPr>
        <p:grpSpPr>
          <a:xfrm>
            <a:off x="10993036" y="1061567"/>
            <a:ext cx="1159188" cy="4445739"/>
            <a:chOff x="10709031" y="2943687"/>
            <a:chExt cx="1021529" cy="3380909"/>
          </a:xfrm>
        </p:grpSpPr>
        <p:sp>
          <p:nvSpPr>
            <p:cNvPr id="94" name="Frame 93">
              <a:extLst>
                <a:ext uri="{FF2B5EF4-FFF2-40B4-BE49-F238E27FC236}">
                  <a16:creationId xmlns:a16="http://schemas.microsoft.com/office/drawing/2014/main" id="{8C718C84-4051-7743-D1AF-AED729675D49}"/>
                </a:ext>
              </a:extLst>
            </p:cNvPr>
            <p:cNvSpPr/>
            <p:nvPr/>
          </p:nvSpPr>
          <p:spPr bwMode="gray">
            <a:xfrm>
              <a:off x="10709031" y="2943687"/>
              <a:ext cx="1021529" cy="3380909"/>
            </a:xfrm>
            <a:prstGeom prst="frame">
              <a:avLst>
                <a:gd name="adj1" fmla="val 6224"/>
              </a:avLst>
            </a:prstGeom>
            <a:solidFill>
              <a:schemeClr val="tx1"/>
            </a:solidFill>
            <a:ln w="19050" algn="ctr">
              <a:noFill/>
              <a:miter lim="800000"/>
              <a:headEnd/>
              <a:tailEnd/>
            </a:ln>
          </p:spPr>
          <p:txBody>
            <a:bodyPr wrap="square" lIns="0" tIns="1371600" rIns="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1200" cap="none" spc="0" normalizeH="0" baseline="0" noProof="0" dirty="0">
                  <a:ln>
                    <a:noFill/>
                  </a:ln>
                  <a:solidFill>
                    <a:srgbClr val="00D639"/>
                  </a:solidFill>
                  <a:effectLst/>
                  <a:uLnTx/>
                  <a:uFillTx/>
                  <a:latin typeface="Aptos" panose="02110004020202020204"/>
                  <a:ea typeface="+mn-ea"/>
                  <a:cs typeface="+mn-cs"/>
                </a:rPr>
                <a:t>Step 3</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D639"/>
                  </a:solidFill>
                  <a:effectLst/>
                  <a:uLnTx/>
                  <a:uFillTx/>
                  <a:latin typeface="Aptos" panose="02110004020202020204"/>
                  <a:ea typeface="+mn-ea"/>
                  <a:cs typeface="+mn-cs"/>
                </a:rPr>
                <a:t>Step 4</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Allocation of transaction price to the performance obligations</a:t>
              </a:r>
            </a:p>
          </p:txBody>
        </p:sp>
        <p:grpSp>
          <p:nvGrpSpPr>
            <p:cNvPr id="96" name="Group 95">
              <a:extLst>
                <a:ext uri="{FF2B5EF4-FFF2-40B4-BE49-F238E27FC236}">
                  <a16:creationId xmlns:a16="http://schemas.microsoft.com/office/drawing/2014/main" id="{B0FB8BF5-C6A8-E75D-0EBF-E56FFDACEF09}"/>
                </a:ext>
              </a:extLst>
            </p:cNvPr>
            <p:cNvGrpSpPr/>
            <p:nvPr/>
          </p:nvGrpSpPr>
          <p:grpSpPr>
            <a:xfrm>
              <a:off x="10891859" y="3574943"/>
              <a:ext cx="655872" cy="698258"/>
              <a:chOff x="4105708" y="2318970"/>
              <a:chExt cx="758539" cy="807559"/>
            </a:xfrm>
          </p:grpSpPr>
          <p:grpSp>
            <p:nvGrpSpPr>
              <p:cNvPr id="98" name="Graphic 3">
                <a:extLst>
                  <a:ext uri="{FF2B5EF4-FFF2-40B4-BE49-F238E27FC236}">
                    <a16:creationId xmlns:a16="http://schemas.microsoft.com/office/drawing/2014/main" id="{8122F4E3-A1F2-9927-861C-1C919AD5A482}"/>
                  </a:ext>
                </a:extLst>
              </p:cNvPr>
              <p:cNvGrpSpPr/>
              <p:nvPr/>
            </p:nvGrpSpPr>
            <p:grpSpPr>
              <a:xfrm>
                <a:off x="4105708" y="2318970"/>
                <a:ext cx="110708" cy="117403"/>
                <a:chOff x="3717318" y="1869116"/>
                <a:chExt cx="190136" cy="201635"/>
              </a:xfrm>
              <a:solidFill>
                <a:srgbClr val="FFFFFF"/>
              </a:solidFill>
            </p:grpSpPr>
            <p:sp>
              <p:nvSpPr>
                <p:cNvPr id="108" name="Freeform: Shape 107">
                  <a:extLst>
                    <a:ext uri="{FF2B5EF4-FFF2-40B4-BE49-F238E27FC236}">
                      <a16:creationId xmlns:a16="http://schemas.microsoft.com/office/drawing/2014/main" id="{15442858-581A-7B63-3958-9FD38EE0C3F4}"/>
                    </a:ext>
                  </a:extLst>
                </p:cNvPr>
                <p:cNvSpPr/>
                <p:nvPr/>
              </p:nvSpPr>
              <p:spPr>
                <a:xfrm>
                  <a:off x="3717318" y="2047414"/>
                  <a:ext cx="116775" cy="23338"/>
                </a:xfrm>
                <a:custGeom>
                  <a:avLst/>
                  <a:gdLst>
                    <a:gd name="connsiteX0" fmla="*/ 105107 w 116775"/>
                    <a:gd name="connsiteY0" fmla="*/ 0 h 23338"/>
                    <a:gd name="connsiteX1" fmla="*/ 11669 w 116775"/>
                    <a:gd name="connsiteY1" fmla="*/ 0 h 23338"/>
                    <a:gd name="connsiteX2" fmla="*/ 0 w 116775"/>
                    <a:gd name="connsiteY2" fmla="*/ 11669 h 23338"/>
                    <a:gd name="connsiteX3" fmla="*/ 11669 w 116775"/>
                    <a:gd name="connsiteY3" fmla="*/ 23338 h 23338"/>
                    <a:gd name="connsiteX4" fmla="*/ 105107 w 116775"/>
                    <a:gd name="connsiteY4" fmla="*/ 23338 h 23338"/>
                    <a:gd name="connsiteX5" fmla="*/ 116776 w 116775"/>
                    <a:gd name="connsiteY5" fmla="*/ 11669 h 23338"/>
                    <a:gd name="connsiteX6" fmla="*/ 105107 w 116775"/>
                    <a:gd name="connsiteY6" fmla="*/ 0 h 2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775" h="23338">
                      <a:moveTo>
                        <a:pt x="105107" y="0"/>
                      </a:moveTo>
                      <a:lnTo>
                        <a:pt x="11669" y="0"/>
                      </a:lnTo>
                      <a:cubicBezTo>
                        <a:pt x="5227" y="0"/>
                        <a:pt x="0" y="5227"/>
                        <a:pt x="0" y="11669"/>
                      </a:cubicBezTo>
                      <a:cubicBezTo>
                        <a:pt x="0" y="18111"/>
                        <a:pt x="5227" y="23338"/>
                        <a:pt x="11669" y="23338"/>
                      </a:cubicBezTo>
                      <a:lnTo>
                        <a:pt x="105107" y="23338"/>
                      </a:lnTo>
                      <a:cubicBezTo>
                        <a:pt x="111549" y="23338"/>
                        <a:pt x="116776" y="18111"/>
                        <a:pt x="116776" y="11669"/>
                      </a:cubicBezTo>
                      <a:cubicBezTo>
                        <a:pt x="116776" y="5227"/>
                        <a:pt x="111549" y="0"/>
                        <a:pt x="105107" y="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9" name="Freeform: Shape 108">
                  <a:extLst>
                    <a:ext uri="{FF2B5EF4-FFF2-40B4-BE49-F238E27FC236}">
                      <a16:creationId xmlns:a16="http://schemas.microsoft.com/office/drawing/2014/main" id="{740F9A8E-2180-50B4-789E-EA4DD58FC25D}"/>
                    </a:ext>
                  </a:extLst>
                </p:cNvPr>
                <p:cNvSpPr/>
                <p:nvPr/>
              </p:nvSpPr>
              <p:spPr>
                <a:xfrm>
                  <a:off x="3764034" y="1923275"/>
                  <a:ext cx="89092" cy="89715"/>
                </a:xfrm>
                <a:custGeom>
                  <a:avLst/>
                  <a:gdLst>
                    <a:gd name="connsiteX0" fmla="*/ 76283 w 89092"/>
                    <a:gd name="connsiteY0" fmla="*/ 60336 h 89715"/>
                    <a:gd name="connsiteX1" fmla="*/ 19956 w 89092"/>
                    <a:gd name="connsiteY1" fmla="*/ 3461 h 89715"/>
                    <a:gd name="connsiteX2" fmla="*/ 3461 w 89092"/>
                    <a:gd name="connsiteY2" fmla="*/ 3376 h 89715"/>
                    <a:gd name="connsiteX3" fmla="*/ 3376 w 89092"/>
                    <a:gd name="connsiteY3" fmla="*/ 19871 h 89715"/>
                    <a:gd name="connsiteX4" fmla="*/ 59278 w 89092"/>
                    <a:gd name="connsiteY4" fmla="*/ 76308 h 89715"/>
                    <a:gd name="connsiteX5" fmla="*/ 69136 w 89092"/>
                    <a:gd name="connsiteY5" fmla="*/ 86263 h 89715"/>
                    <a:gd name="connsiteX6" fmla="*/ 77426 w 89092"/>
                    <a:gd name="connsiteY6" fmla="*/ 89715 h 89715"/>
                    <a:gd name="connsiteX7" fmla="*/ 85631 w 89092"/>
                    <a:gd name="connsiteY7" fmla="*/ 86336 h 89715"/>
                    <a:gd name="connsiteX8" fmla="*/ 85716 w 89092"/>
                    <a:gd name="connsiteY8" fmla="*/ 69841 h 89715"/>
                    <a:gd name="connsiteX9" fmla="*/ 76283 w 89092"/>
                    <a:gd name="connsiteY9" fmla="*/ 60324 h 8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92" h="89715">
                      <a:moveTo>
                        <a:pt x="76283" y="60336"/>
                      </a:moveTo>
                      <a:lnTo>
                        <a:pt x="19956" y="3461"/>
                      </a:lnTo>
                      <a:cubicBezTo>
                        <a:pt x="15422" y="-1121"/>
                        <a:pt x="8032" y="-1158"/>
                        <a:pt x="3461" y="3376"/>
                      </a:cubicBezTo>
                      <a:cubicBezTo>
                        <a:pt x="-1121" y="7910"/>
                        <a:pt x="-1158" y="15301"/>
                        <a:pt x="3376" y="19871"/>
                      </a:cubicBezTo>
                      <a:lnTo>
                        <a:pt x="59278" y="76308"/>
                      </a:lnTo>
                      <a:lnTo>
                        <a:pt x="69136" y="86263"/>
                      </a:lnTo>
                      <a:cubicBezTo>
                        <a:pt x="71421" y="88572"/>
                        <a:pt x="74424" y="89715"/>
                        <a:pt x="77426" y="89715"/>
                      </a:cubicBezTo>
                      <a:cubicBezTo>
                        <a:pt x="80428" y="89715"/>
                        <a:pt x="83358" y="88585"/>
                        <a:pt x="85631" y="86336"/>
                      </a:cubicBezTo>
                      <a:cubicBezTo>
                        <a:pt x="90213" y="81802"/>
                        <a:pt x="90250" y="74424"/>
                        <a:pt x="85716" y="69841"/>
                      </a:cubicBezTo>
                      <a:lnTo>
                        <a:pt x="76283" y="60324"/>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0" name="Freeform: Shape 109">
                  <a:extLst>
                    <a:ext uri="{FF2B5EF4-FFF2-40B4-BE49-F238E27FC236}">
                      <a16:creationId xmlns:a16="http://schemas.microsoft.com/office/drawing/2014/main" id="{4338C70E-DBF0-5437-071A-FB8D2D6703D2}"/>
                    </a:ext>
                  </a:extLst>
                </p:cNvPr>
                <p:cNvSpPr/>
                <p:nvPr/>
              </p:nvSpPr>
              <p:spPr>
                <a:xfrm>
                  <a:off x="3875369" y="1869116"/>
                  <a:ext cx="32086" cy="116366"/>
                </a:xfrm>
                <a:custGeom>
                  <a:avLst/>
                  <a:gdLst>
                    <a:gd name="connsiteX0" fmla="*/ 32033 w 32086"/>
                    <a:gd name="connsiteY0" fmla="*/ 103591 h 116366"/>
                    <a:gd name="connsiteX1" fmla="*/ 28168 w 32086"/>
                    <a:gd name="connsiteY1" fmla="*/ 62592 h 116366"/>
                    <a:gd name="connsiteX2" fmla="*/ 23269 w 32086"/>
                    <a:gd name="connsiteY2" fmla="*/ 10567 h 116366"/>
                    <a:gd name="connsiteX3" fmla="*/ 10567 w 32086"/>
                    <a:gd name="connsiteY3" fmla="*/ 53 h 116366"/>
                    <a:gd name="connsiteX4" fmla="*/ 53 w 32086"/>
                    <a:gd name="connsiteY4" fmla="*/ 12755 h 116366"/>
                    <a:gd name="connsiteX5" fmla="*/ 6325 w 32086"/>
                    <a:gd name="connsiteY5" fmla="*/ 79317 h 116366"/>
                    <a:gd name="connsiteX6" fmla="*/ 8817 w 32086"/>
                    <a:gd name="connsiteY6" fmla="*/ 105791 h 116366"/>
                    <a:gd name="connsiteX7" fmla="*/ 20413 w 32086"/>
                    <a:gd name="connsiteY7" fmla="*/ 116366 h 116366"/>
                    <a:gd name="connsiteX8" fmla="*/ 21519 w 32086"/>
                    <a:gd name="connsiteY8" fmla="*/ 116318 h 116366"/>
                    <a:gd name="connsiteX9" fmla="*/ 32033 w 32086"/>
                    <a:gd name="connsiteY9" fmla="*/ 103616 h 11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86" h="116366">
                      <a:moveTo>
                        <a:pt x="32033" y="103591"/>
                      </a:moveTo>
                      <a:lnTo>
                        <a:pt x="28168" y="62592"/>
                      </a:lnTo>
                      <a:lnTo>
                        <a:pt x="23269" y="10567"/>
                      </a:lnTo>
                      <a:cubicBezTo>
                        <a:pt x="22662" y="4149"/>
                        <a:pt x="16997" y="-555"/>
                        <a:pt x="10567" y="53"/>
                      </a:cubicBezTo>
                      <a:cubicBezTo>
                        <a:pt x="4149" y="661"/>
                        <a:pt x="-555" y="6349"/>
                        <a:pt x="53" y="12755"/>
                      </a:cubicBezTo>
                      <a:lnTo>
                        <a:pt x="6325" y="79317"/>
                      </a:lnTo>
                      <a:lnTo>
                        <a:pt x="8817" y="105791"/>
                      </a:lnTo>
                      <a:cubicBezTo>
                        <a:pt x="9388" y="111833"/>
                        <a:pt x="14469" y="116366"/>
                        <a:pt x="20413" y="116366"/>
                      </a:cubicBezTo>
                      <a:cubicBezTo>
                        <a:pt x="20778" y="116366"/>
                        <a:pt x="21154" y="116354"/>
                        <a:pt x="21519" y="116318"/>
                      </a:cubicBezTo>
                      <a:cubicBezTo>
                        <a:pt x="27937" y="115710"/>
                        <a:pt x="32641" y="110021"/>
                        <a:pt x="32033" y="103616"/>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99" name="Freeform: Shape 98">
                <a:extLst>
                  <a:ext uri="{FF2B5EF4-FFF2-40B4-BE49-F238E27FC236}">
                    <a16:creationId xmlns:a16="http://schemas.microsoft.com/office/drawing/2014/main" id="{3D5E885C-5478-2BBF-5ED3-CCFE59649A81}"/>
                  </a:ext>
                </a:extLst>
              </p:cNvPr>
              <p:cNvSpPr/>
              <p:nvPr/>
            </p:nvSpPr>
            <p:spPr>
              <a:xfrm>
                <a:off x="4258496" y="2872634"/>
                <a:ext cx="127026" cy="127019"/>
              </a:xfrm>
              <a:custGeom>
                <a:avLst/>
                <a:gdLst>
                  <a:gd name="connsiteX0" fmla="*/ 109081 w 218162"/>
                  <a:gd name="connsiteY0" fmla="*/ 0 h 218150"/>
                  <a:gd name="connsiteX1" fmla="*/ 0 w 218162"/>
                  <a:gd name="connsiteY1" fmla="*/ 109081 h 218150"/>
                  <a:gd name="connsiteX2" fmla="*/ 109081 w 218162"/>
                  <a:gd name="connsiteY2" fmla="*/ 218150 h 218150"/>
                  <a:gd name="connsiteX3" fmla="*/ 218163 w 218162"/>
                  <a:gd name="connsiteY3" fmla="*/ 109081 h 218150"/>
                  <a:gd name="connsiteX4" fmla="*/ 109081 w 218162"/>
                  <a:gd name="connsiteY4" fmla="*/ 0 h 218150"/>
                  <a:gd name="connsiteX5" fmla="*/ 178087 w 218162"/>
                  <a:gd name="connsiteY5" fmla="*/ 77721 h 218150"/>
                  <a:gd name="connsiteX6" fmla="*/ 98871 w 218162"/>
                  <a:gd name="connsiteY6" fmla="*/ 156936 h 218150"/>
                  <a:gd name="connsiteX7" fmla="*/ 90630 w 218162"/>
                  <a:gd name="connsiteY7" fmla="*/ 160340 h 218150"/>
                  <a:gd name="connsiteX8" fmla="*/ 82388 w 218162"/>
                  <a:gd name="connsiteY8" fmla="*/ 156936 h 218150"/>
                  <a:gd name="connsiteX9" fmla="*/ 40088 w 218162"/>
                  <a:gd name="connsiteY9" fmla="*/ 114636 h 218150"/>
                  <a:gd name="connsiteX10" fmla="*/ 40088 w 218162"/>
                  <a:gd name="connsiteY10" fmla="*/ 98129 h 218150"/>
                  <a:gd name="connsiteX11" fmla="*/ 56583 w 218162"/>
                  <a:gd name="connsiteY11" fmla="*/ 98129 h 218150"/>
                  <a:gd name="connsiteX12" fmla="*/ 90642 w 218162"/>
                  <a:gd name="connsiteY12" fmla="*/ 132188 h 218150"/>
                  <a:gd name="connsiteX13" fmla="*/ 161616 w 218162"/>
                  <a:gd name="connsiteY13" fmla="*/ 61214 h 218150"/>
                  <a:gd name="connsiteX14" fmla="*/ 178111 w 218162"/>
                  <a:gd name="connsiteY14" fmla="*/ 61226 h 218150"/>
                  <a:gd name="connsiteX15" fmla="*/ 178111 w 218162"/>
                  <a:gd name="connsiteY15" fmla="*/ 77721 h 21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8162" h="218150">
                    <a:moveTo>
                      <a:pt x="109081" y="0"/>
                    </a:moveTo>
                    <a:cubicBezTo>
                      <a:pt x="48937" y="0"/>
                      <a:pt x="0" y="48925"/>
                      <a:pt x="0" y="109081"/>
                    </a:cubicBezTo>
                    <a:cubicBezTo>
                      <a:pt x="0" y="169238"/>
                      <a:pt x="48937" y="218150"/>
                      <a:pt x="109081" y="218150"/>
                    </a:cubicBezTo>
                    <a:cubicBezTo>
                      <a:pt x="169225" y="218150"/>
                      <a:pt x="218163" y="169225"/>
                      <a:pt x="218163" y="109081"/>
                    </a:cubicBezTo>
                    <a:cubicBezTo>
                      <a:pt x="218163" y="48937"/>
                      <a:pt x="169225" y="0"/>
                      <a:pt x="109081" y="0"/>
                    </a:cubicBezTo>
                    <a:close/>
                    <a:moveTo>
                      <a:pt x="178087" y="77721"/>
                    </a:moveTo>
                    <a:lnTo>
                      <a:pt x="98871" y="156936"/>
                    </a:lnTo>
                    <a:cubicBezTo>
                      <a:pt x="96598" y="159210"/>
                      <a:pt x="93608" y="160340"/>
                      <a:pt x="90630" y="160340"/>
                    </a:cubicBezTo>
                    <a:cubicBezTo>
                      <a:pt x="87652" y="160340"/>
                      <a:pt x="84661" y="159210"/>
                      <a:pt x="82388" y="156936"/>
                    </a:cubicBezTo>
                    <a:lnTo>
                      <a:pt x="40088" y="114636"/>
                    </a:lnTo>
                    <a:cubicBezTo>
                      <a:pt x="35530" y="110078"/>
                      <a:pt x="35530" y="102688"/>
                      <a:pt x="40088" y="98129"/>
                    </a:cubicBezTo>
                    <a:cubicBezTo>
                      <a:pt x="44646" y="93583"/>
                      <a:pt x="52024" y="93583"/>
                      <a:pt x="56583" y="98129"/>
                    </a:cubicBezTo>
                    <a:lnTo>
                      <a:pt x="90642" y="132188"/>
                    </a:lnTo>
                    <a:lnTo>
                      <a:pt x="161616" y="61214"/>
                    </a:lnTo>
                    <a:cubicBezTo>
                      <a:pt x="166174" y="56668"/>
                      <a:pt x="173553" y="56668"/>
                      <a:pt x="178111" y="61226"/>
                    </a:cubicBezTo>
                    <a:cubicBezTo>
                      <a:pt x="182669" y="65772"/>
                      <a:pt x="182669" y="73162"/>
                      <a:pt x="178111" y="77721"/>
                    </a:cubicBezTo>
                    <a:close/>
                  </a:path>
                </a:pathLst>
              </a:custGeom>
              <a:solidFill>
                <a:srgbClr val="00D63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0" name="Freeform: Shape 99">
                <a:extLst>
                  <a:ext uri="{FF2B5EF4-FFF2-40B4-BE49-F238E27FC236}">
                    <a16:creationId xmlns:a16="http://schemas.microsoft.com/office/drawing/2014/main" id="{E39E2C3A-7717-A42F-5656-EC5EC3745CFA}"/>
                  </a:ext>
                </a:extLst>
              </p:cNvPr>
              <p:cNvSpPr/>
              <p:nvPr/>
            </p:nvSpPr>
            <p:spPr>
              <a:xfrm>
                <a:off x="4215988" y="2423599"/>
                <a:ext cx="453884" cy="647416"/>
              </a:xfrm>
              <a:custGeom>
                <a:avLst/>
                <a:gdLst>
                  <a:gd name="connsiteX0" fmla="*/ 0 w 779528"/>
                  <a:gd name="connsiteY0" fmla="*/ 24 h 1111914"/>
                  <a:gd name="connsiteX1" fmla="*/ 0 w 779528"/>
                  <a:gd name="connsiteY1" fmla="*/ 1111914 h 1111914"/>
                  <a:gd name="connsiteX2" fmla="*/ 691257 w 779528"/>
                  <a:gd name="connsiteY2" fmla="*/ 1111914 h 1111914"/>
                  <a:gd name="connsiteX3" fmla="*/ 694819 w 779528"/>
                  <a:gd name="connsiteY3" fmla="*/ 962295 h 1111914"/>
                  <a:gd name="connsiteX4" fmla="*/ 696496 w 779528"/>
                  <a:gd name="connsiteY4" fmla="*/ 892427 h 1111914"/>
                  <a:gd name="connsiteX5" fmla="*/ 697481 w 779528"/>
                  <a:gd name="connsiteY5" fmla="*/ 883663 h 1111914"/>
                  <a:gd name="connsiteX6" fmla="*/ 705066 w 779528"/>
                  <a:gd name="connsiteY6" fmla="*/ 865515 h 1111914"/>
                  <a:gd name="connsiteX7" fmla="*/ 711362 w 779528"/>
                  <a:gd name="connsiteY7" fmla="*/ 857894 h 1111914"/>
                  <a:gd name="connsiteX8" fmla="*/ 711435 w 779528"/>
                  <a:gd name="connsiteY8" fmla="*/ 857821 h 1111914"/>
                  <a:gd name="connsiteX9" fmla="*/ 711508 w 779528"/>
                  <a:gd name="connsiteY9" fmla="*/ 857748 h 1111914"/>
                  <a:gd name="connsiteX10" fmla="*/ 730665 w 779528"/>
                  <a:gd name="connsiteY10" fmla="*/ 845921 h 1111914"/>
                  <a:gd name="connsiteX11" fmla="*/ 730665 w 779528"/>
                  <a:gd name="connsiteY11" fmla="*/ 753371 h 1111914"/>
                  <a:gd name="connsiteX12" fmla="*/ 555216 w 779528"/>
                  <a:gd name="connsiteY12" fmla="*/ 670350 h 1111914"/>
                  <a:gd name="connsiteX13" fmla="*/ 510253 w 779528"/>
                  <a:gd name="connsiteY13" fmla="*/ 620477 h 1111914"/>
                  <a:gd name="connsiteX14" fmla="*/ 224009 w 779528"/>
                  <a:gd name="connsiteY14" fmla="*/ 620477 h 1111914"/>
                  <a:gd name="connsiteX15" fmla="*/ 212340 w 779528"/>
                  <a:gd name="connsiteY15" fmla="*/ 608820 h 1111914"/>
                  <a:gd name="connsiteX16" fmla="*/ 224009 w 779528"/>
                  <a:gd name="connsiteY16" fmla="*/ 597151 h 1111914"/>
                  <a:gd name="connsiteX17" fmla="*/ 494585 w 779528"/>
                  <a:gd name="connsiteY17" fmla="*/ 597151 h 1111914"/>
                  <a:gd name="connsiteX18" fmla="*/ 459639 w 779528"/>
                  <a:gd name="connsiteY18" fmla="*/ 518956 h 1111914"/>
                  <a:gd name="connsiteX19" fmla="*/ 84418 w 779528"/>
                  <a:gd name="connsiteY19" fmla="*/ 518956 h 1111914"/>
                  <a:gd name="connsiteX20" fmla="*/ 72749 w 779528"/>
                  <a:gd name="connsiteY20" fmla="*/ 507287 h 1111914"/>
                  <a:gd name="connsiteX21" fmla="*/ 84418 w 779528"/>
                  <a:gd name="connsiteY21" fmla="*/ 495631 h 1111914"/>
                  <a:gd name="connsiteX22" fmla="*/ 453561 w 779528"/>
                  <a:gd name="connsiteY22" fmla="*/ 495631 h 1111914"/>
                  <a:gd name="connsiteX23" fmla="*/ 451069 w 779528"/>
                  <a:gd name="connsiteY23" fmla="*/ 483220 h 1111914"/>
                  <a:gd name="connsiteX24" fmla="*/ 445916 w 779528"/>
                  <a:gd name="connsiteY24" fmla="*/ 436738 h 1111914"/>
                  <a:gd name="connsiteX25" fmla="*/ 445612 w 779528"/>
                  <a:gd name="connsiteY25" fmla="*/ 423039 h 1111914"/>
                  <a:gd name="connsiteX26" fmla="*/ 445685 w 779528"/>
                  <a:gd name="connsiteY26" fmla="*/ 417436 h 1111914"/>
                  <a:gd name="connsiteX27" fmla="*/ 84418 w 779528"/>
                  <a:gd name="connsiteY27" fmla="*/ 417436 h 1111914"/>
                  <a:gd name="connsiteX28" fmla="*/ 72749 w 779528"/>
                  <a:gd name="connsiteY28" fmla="*/ 405767 h 1111914"/>
                  <a:gd name="connsiteX29" fmla="*/ 84418 w 779528"/>
                  <a:gd name="connsiteY29" fmla="*/ 394098 h 1111914"/>
                  <a:gd name="connsiteX30" fmla="*/ 446876 w 779528"/>
                  <a:gd name="connsiteY30" fmla="*/ 394098 h 1111914"/>
                  <a:gd name="connsiteX31" fmla="*/ 459068 w 779528"/>
                  <a:gd name="connsiteY31" fmla="*/ 328958 h 1111914"/>
                  <a:gd name="connsiteX32" fmla="*/ 463176 w 779528"/>
                  <a:gd name="connsiteY32" fmla="*/ 315915 h 1111914"/>
                  <a:gd name="connsiteX33" fmla="*/ 121334 w 779528"/>
                  <a:gd name="connsiteY33" fmla="*/ 315915 h 1111914"/>
                  <a:gd name="connsiteX34" fmla="*/ 109665 w 779528"/>
                  <a:gd name="connsiteY34" fmla="*/ 304246 h 1111914"/>
                  <a:gd name="connsiteX35" fmla="*/ 121334 w 779528"/>
                  <a:gd name="connsiteY35" fmla="*/ 292577 h 1111914"/>
                  <a:gd name="connsiteX36" fmla="*/ 472074 w 779528"/>
                  <a:gd name="connsiteY36" fmla="*/ 292577 h 1111914"/>
                  <a:gd name="connsiteX37" fmla="*/ 492823 w 779528"/>
                  <a:gd name="connsiteY37" fmla="*/ 251808 h 1111914"/>
                  <a:gd name="connsiteX38" fmla="*/ 492847 w 779528"/>
                  <a:gd name="connsiteY38" fmla="*/ 251748 h 1111914"/>
                  <a:gd name="connsiteX39" fmla="*/ 493941 w 779528"/>
                  <a:gd name="connsiteY39" fmla="*/ 249973 h 1111914"/>
                  <a:gd name="connsiteX40" fmla="*/ 518847 w 779528"/>
                  <a:gd name="connsiteY40" fmla="*/ 214382 h 1111914"/>
                  <a:gd name="connsiteX41" fmla="*/ 84418 w 779528"/>
                  <a:gd name="connsiteY41" fmla="*/ 214382 h 1111914"/>
                  <a:gd name="connsiteX42" fmla="*/ 72749 w 779528"/>
                  <a:gd name="connsiteY42" fmla="*/ 202725 h 1111914"/>
                  <a:gd name="connsiteX43" fmla="*/ 84418 w 779528"/>
                  <a:gd name="connsiteY43" fmla="*/ 191056 h 1111914"/>
                  <a:gd name="connsiteX44" fmla="*/ 539389 w 779528"/>
                  <a:gd name="connsiteY44" fmla="*/ 191056 h 1111914"/>
                  <a:gd name="connsiteX45" fmla="*/ 579101 w 779528"/>
                  <a:gd name="connsiteY45" fmla="*/ 155976 h 1111914"/>
                  <a:gd name="connsiteX46" fmla="*/ 624039 w 779528"/>
                  <a:gd name="connsiteY46" fmla="*/ 127484 h 1111914"/>
                  <a:gd name="connsiteX47" fmla="*/ 624440 w 779528"/>
                  <a:gd name="connsiteY47" fmla="*/ 127266 h 1111914"/>
                  <a:gd name="connsiteX48" fmla="*/ 624950 w 779528"/>
                  <a:gd name="connsiteY48" fmla="*/ 126998 h 1111914"/>
                  <a:gd name="connsiteX49" fmla="*/ 779492 w 779528"/>
                  <a:gd name="connsiteY49" fmla="*/ 89134 h 1111914"/>
                  <a:gd name="connsiteX50" fmla="*/ 779529 w 779528"/>
                  <a:gd name="connsiteY50" fmla="*/ 89134 h 1111914"/>
                  <a:gd name="connsiteX51" fmla="*/ 779529 w 779528"/>
                  <a:gd name="connsiteY51" fmla="*/ 0 h 1111914"/>
                  <a:gd name="connsiteX52" fmla="*/ 0 w 779528"/>
                  <a:gd name="connsiteY52" fmla="*/ 0 h 1111914"/>
                  <a:gd name="connsiteX53" fmla="*/ 652263 w 779528"/>
                  <a:gd name="connsiteY53" fmla="*/ 973843 h 1111914"/>
                  <a:gd name="connsiteX54" fmla="*/ 499994 w 779528"/>
                  <a:gd name="connsiteY54" fmla="*/ 973843 h 1111914"/>
                  <a:gd name="connsiteX55" fmla="*/ 488325 w 779528"/>
                  <a:gd name="connsiteY55" fmla="*/ 962174 h 1111914"/>
                  <a:gd name="connsiteX56" fmla="*/ 499994 w 779528"/>
                  <a:gd name="connsiteY56" fmla="*/ 950517 h 1111914"/>
                  <a:gd name="connsiteX57" fmla="*/ 652263 w 779528"/>
                  <a:gd name="connsiteY57" fmla="*/ 950517 h 1111914"/>
                  <a:gd name="connsiteX58" fmla="*/ 663932 w 779528"/>
                  <a:gd name="connsiteY58" fmla="*/ 962174 h 1111914"/>
                  <a:gd name="connsiteX59" fmla="*/ 652263 w 779528"/>
                  <a:gd name="connsiteY59" fmla="*/ 973843 h 1111914"/>
                  <a:gd name="connsiteX60" fmla="*/ 383097 w 779528"/>
                  <a:gd name="connsiteY60" fmla="*/ 786713 h 1111914"/>
                  <a:gd name="connsiteX61" fmla="*/ 655351 w 779528"/>
                  <a:gd name="connsiteY61" fmla="*/ 786713 h 1111914"/>
                  <a:gd name="connsiteX62" fmla="*/ 667020 w 779528"/>
                  <a:gd name="connsiteY62" fmla="*/ 798382 h 1111914"/>
                  <a:gd name="connsiteX63" fmla="*/ 655351 w 779528"/>
                  <a:gd name="connsiteY63" fmla="*/ 810051 h 1111914"/>
                  <a:gd name="connsiteX64" fmla="*/ 383097 w 779528"/>
                  <a:gd name="connsiteY64" fmla="*/ 810051 h 1111914"/>
                  <a:gd name="connsiteX65" fmla="*/ 371428 w 779528"/>
                  <a:gd name="connsiteY65" fmla="*/ 798382 h 1111914"/>
                  <a:gd name="connsiteX66" fmla="*/ 383097 w 779528"/>
                  <a:gd name="connsiteY66" fmla="*/ 786713 h 1111914"/>
                  <a:gd name="connsiteX67" fmla="*/ 182086 w 779528"/>
                  <a:gd name="connsiteY67" fmla="*/ 747876 h 1111914"/>
                  <a:gd name="connsiteX68" fmla="*/ 314493 w 779528"/>
                  <a:gd name="connsiteY68" fmla="*/ 880296 h 1111914"/>
                  <a:gd name="connsiteX69" fmla="*/ 182086 w 779528"/>
                  <a:gd name="connsiteY69" fmla="*/ 1012703 h 1111914"/>
                  <a:gd name="connsiteX70" fmla="*/ 49679 w 779528"/>
                  <a:gd name="connsiteY70" fmla="*/ 880296 h 1111914"/>
                  <a:gd name="connsiteX71" fmla="*/ 182086 w 779528"/>
                  <a:gd name="connsiteY71" fmla="*/ 747876 h 1111914"/>
                  <a:gd name="connsiteX72" fmla="*/ 506631 w 779528"/>
                  <a:gd name="connsiteY72" fmla="*/ 112886 h 1111914"/>
                  <a:gd name="connsiteX73" fmla="*/ 195165 w 779528"/>
                  <a:gd name="connsiteY73" fmla="*/ 112886 h 1111914"/>
                  <a:gd name="connsiteX74" fmla="*/ 183496 w 779528"/>
                  <a:gd name="connsiteY74" fmla="*/ 101217 h 1111914"/>
                  <a:gd name="connsiteX75" fmla="*/ 195165 w 779528"/>
                  <a:gd name="connsiteY75" fmla="*/ 89548 h 1111914"/>
                  <a:gd name="connsiteX76" fmla="*/ 506631 w 779528"/>
                  <a:gd name="connsiteY76" fmla="*/ 89548 h 1111914"/>
                  <a:gd name="connsiteX77" fmla="*/ 518300 w 779528"/>
                  <a:gd name="connsiteY77" fmla="*/ 101217 h 1111914"/>
                  <a:gd name="connsiteX78" fmla="*/ 506631 w 779528"/>
                  <a:gd name="connsiteY78" fmla="*/ 112886 h 111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779528" h="1111914">
                    <a:moveTo>
                      <a:pt x="0" y="24"/>
                    </a:moveTo>
                    <a:lnTo>
                      <a:pt x="0" y="1111914"/>
                    </a:lnTo>
                    <a:lnTo>
                      <a:pt x="691257" y="1111914"/>
                    </a:lnTo>
                    <a:lnTo>
                      <a:pt x="694819" y="962295"/>
                    </a:lnTo>
                    <a:lnTo>
                      <a:pt x="696496" y="892427"/>
                    </a:lnTo>
                    <a:cubicBezTo>
                      <a:pt x="696569" y="889424"/>
                      <a:pt x="696909" y="886507"/>
                      <a:pt x="697481" y="883663"/>
                    </a:cubicBezTo>
                    <a:cubicBezTo>
                      <a:pt x="698806" y="877050"/>
                      <a:pt x="701419" y="870912"/>
                      <a:pt x="705066" y="865515"/>
                    </a:cubicBezTo>
                    <a:cubicBezTo>
                      <a:pt x="706913" y="862768"/>
                      <a:pt x="709028" y="860215"/>
                      <a:pt x="711362" y="857894"/>
                    </a:cubicBezTo>
                    <a:cubicBezTo>
                      <a:pt x="711386" y="857869"/>
                      <a:pt x="711411" y="857845"/>
                      <a:pt x="711435" y="857821"/>
                    </a:cubicBezTo>
                    <a:lnTo>
                      <a:pt x="711508" y="857748"/>
                    </a:lnTo>
                    <a:cubicBezTo>
                      <a:pt x="716868" y="852472"/>
                      <a:pt x="723396" y="848388"/>
                      <a:pt x="730665" y="845921"/>
                    </a:cubicBezTo>
                    <a:lnTo>
                      <a:pt x="730665" y="753371"/>
                    </a:lnTo>
                    <a:cubicBezTo>
                      <a:pt x="663628" y="743549"/>
                      <a:pt x="603095" y="713805"/>
                      <a:pt x="555216" y="670350"/>
                    </a:cubicBezTo>
                    <a:cubicBezTo>
                      <a:pt x="538624" y="655290"/>
                      <a:pt x="523539" y="638576"/>
                      <a:pt x="510253" y="620477"/>
                    </a:cubicBezTo>
                    <a:lnTo>
                      <a:pt x="224009" y="620477"/>
                    </a:lnTo>
                    <a:cubicBezTo>
                      <a:pt x="217567" y="620477"/>
                      <a:pt x="212340" y="615263"/>
                      <a:pt x="212340" y="608820"/>
                    </a:cubicBezTo>
                    <a:cubicBezTo>
                      <a:pt x="212340" y="602378"/>
                      <a:pt x="217555" y="597151"/>
                      <a:pt x="224009" y="597151"/>
                    </a:cubicBezTo>
                    <a:lnTo>
                      <a:pt x="494585" y="597151"/>
                    </a:lnTo>
                    <a:cubicBezTo>
                      <a:pt x="479768" y="572950"/>
                      <a:pt x="467941" y="546719"/>
                      <a:pt x="459639" y="518956"/>
                    </a:cubicBezTo>
                    <a:lnTo>
                      <a:pt x="84418" y="518956"/>
                    </a:lnTo>
                    <a:cubicBezTo>
                      <a:pt x="77976" y="518956"/>
                      <a:pt x="72749" y="513730"/>
                      <a:pt x="72749" y="507287"/>
                    </a:cubicBezTo>
                    <a:cubicBezTo>
                      <a:pt x="72749" y="500845"/>
                      <a:pt x="77964" y="495631"/>
                      <a:pt x="84418" y="495631"/>
                    </a:cubicBezTo>
                    <a:lnTo>
                      <a:pt x="453561" y="495631"/>
                    </a:lnTo>
                    <a:cubicBezTo>
                      <a:pt x="452637" y="491522"/>
                      <a:pt x="451823" y="487389"/>
                      <a:pt x="451069" y="483220"/>
                    </a:cubicBezTo>
                    <a:cubicBezTo>
                      <a:pt x="448298" y="468050"/>
                      <a:pt x="446548" y="452540"/>
                      <a:pt x="445916" y="436738"/>
                    </a:cubicBezTo>
                    <a:cubicBezTo>
                      <a:pt x="445733" y="432192"/>
                      <a:pt x="445612" y="427634"/>
                      <a:pt x="445612" y="423039"/>
                    </a:cubicBezTo>
                    <a:cubicBezTo>
                      <a:pt x="445612" y="421168"/>
                      <a:pt x="445660" y="419296"/>
                      <a:pt x="445685" y="417436"/>
                    </a:cubicBezTo>
                    <a:lnTo>
                      <a:pt x="84418" y="417436"/>
                    </a:lnTo>
                    <a:cubicBezTo>
                      <a:pt x="77976" y="417436"/>
                      <a:pt x="72749" y="412221"/>
                      <a:pt x="72749" y="405767"/>
                    </a:cubicBezTo>
                    <a:cubicBezTo>
                      <a:pt x="72749" y="399312"/>
                      <a:pt x="77964" y="394098"/>
                      <a:pt x="84418" y="394098"/>
                    </a:cubicBezTo>
                    <a:lnTo>
                      <a:pt x="446876" y="394098"/>
                    </a:lnTo>
                    <a:cubicBezTo>
                      <a:pt x="448809" y="371683"/>
                      <a:pt x="452941" y="349901"/>
                      <a:pt x="459068" y="328958"/>
                    </a:cubicBezTo>
                    <a:cubicBezTo>
                      <a:pt x="460356" y="324570"/>
                      <a:pt x="461717" y="320230"/>
                      <a:pt x="463176" y="315915"/>
                    </a:cubicBezTo>
                    <a:lnTo>
                      <a:pt x="121334" y="315915"/>
                    </a:lnTo>
                    <a:cubicBezTo>
                      <a:pt x="114891" y="315915"/>
                      <a:pt x="109665" y="310688"/>
                      <a:pt x="109665" y="304246"/>
                    </a:cubicBezTo>
                    <a:cubicBezTo>
                      <a:pt x="109665" y="297804"/>
                      <a:pt x="114879" y="292577"/>
                      <a:pt x="121334" y="292577"/>
                    </a:cubicBezTo>
                    <a:lnTo>
                      <a:pt x="472074" y="292577"/>
                    </a:lnTo>
                    <a:cubicBezTo>
                      <a:pt x="478078" y="278465"/>
                      <a:pt x="485019" y="264851"/>
                      <a:pt x="492823" y="251808"/>
                    </a:cubicBezTo>
                    <a:cubicBezTo>
                      <a:pt x="492835" y="251796"/>
                      <a:pt x="492835" y="251772"/>
                      <a:pt x="492847" y="251748"/>
                    </a:cubicBezTo>
                    <a:cubicBezTo>
                      <a:pt x="493212" y="251164"/>
                      <a:pt x="493576" y="250556"/>
                      <a:pt x="493941" y="249973"/>
                    </a:cubicBezTo>
                    <a:cubicBezTo>
                      <a:pt x="501489" y="237550"/>
                      <a:pt x="509791" y="225675"/>
                      <a:pt x="518847" y="214382"/>
                    </a:cubicBezTo>
                    <a:lnTo>
                      <a:pt x="84418" y="214382"/>
                    </a:lnTo>
                    <a:cubicBezTo>
                      <a:pt x="77976" y="214382"/>
                      <a:pt x="72749" y="209155"/>
                      <a:pt x="72749" y="202725"/>
                    </a:cubicBezTo>
                    <a:cubicBezTo>
                      <a:pt x="72749" y="196295"/>
                      <a:pt x="77964" y="191056"/>
                      <a:pt x="84418" y="191056"/>
                    </a:cubicBezTo>
                    <a:lnTo>
                      <a:pt x="539389" y="191056"/>
                    </a:lnTo>
                    <a:cubicBezTo>
                      <a:pt x="551666" y="178354"/>
                      <a:pt x="564940" y="166612"/>
                      <a:pt x="579101" y="155976"/>
                    </a:cubicBezTo>
                    <a:cubicBezTo>
                      <a:pt x="593249" y="145340"/>
                      <a:pt x="608285" y="135799"/>
                      <a:pt x="624039" y="127484"/>
                    </a:cubicBezTo>
                    <a:cubicBezTo>
                      <a:pt x="624172" y="127411"/>
                      <a:pt x="624306" y="127326"/>
                      <a:pt x="624440" y="127266"/>
                    </a:cubicBezTo>
                    <a:cubicBezTo>
                      <a:pt x="624622" y="127180"/>
                      <a:pt x="624780" y="127083"/>
                      <a:pt x="624950" y="126998"/>
                    </a:cubicBezTo>
                    <a:cubicBezTo>
                      <a:pt x="671152" y="102821"/>
                      <a:pt x="723724" y="89134"/>
                      <a:pt x="779492" y="89134"/>
                    </a:cubicBezTo>
                    <a:lnTo>
                      <a:pt x="779529" y="89134"/>
                    </a:lnTo>
                    <a:lnTo>
                      <a:pt x="779529" y="0"/>
                    </a:lnTo>
                    <a:lnTo>
                      <a:pt x="0" y="0"/>
                    </a:lnTo>
                    <a:close/>
                    <a:moveTo>
                      <a:pt x="652263" y="973843"/>
                    </a:moveTo>
                    <a:lnTo>
                      <a:pt x="499994" y="973843"/>
                    </a:lnTo>
                    <a:cubicBezTo>
                      <a:pt x="493552" y="973843"/>
                      <a:pt x="488325" y="968628"/>
                      <a:pt x="488325" y="962174"/>
                    </a:cubicBezTo>
                    <a:cubicBezTo>
                      <a:pt x="488325" y="955719"/>
                      <a:pt x="493540" y="950517"/>
                      <a:pt x="499994" y="950517"/>
                    </a:cubicBezTo>
                    <a:lnTo>
                      <a:pt x="652263" y="950517"/>
                    </a:lnTo>
                    <a:cubicBezTo>
                      <a:pt x="658706" y="950517"/>
                      <a:pt x="663932" y="955731"/>
                      <a:pt x="663932" y="962174"/>
                    </a:cubicBezTo>
                    <a:cubicBezTo>
                      <a:pt x="663932" y="968616"/>
                      <a:pt x="658718" y="973843"/>
                      <a:pt x="652263" y="973843"/>
                    </a:cubicBezTo>
                    <a:close/>
                    <a:moveTo>
                      <a:pt x="383097" y="786713"/>
                    </a:moveTo>
                    <a:lnTo>
                      <a:pt x="655351" y="786713"/>
                    </a:lnTo>
                    <a:cubicBezTo>
                      <a:pt x="661793" y="786713"/>
                      <a:pt x="667020" y="791927"/>
                      <a:pt x="667020" y="798382"/>
                    </a:cubicBezTo>
                    <a:cubicBezTo>
                      <a:pt x="667020" y="804836"/>
                      <a:pt x="661793" y="810051"/>
                      <a:pt x="655351" y="810051"/>
                    </a:cubicBezTo>
                    <a:lnTo>
                      <a:pt x="383097" y="810051"/>
                    </a:lnTo>
                    <a:cubicBezTo>
                      <a:pt x="376667" y="810051"/>
                      <a:pt x="371428" y="804812"/>
                      <a:pt x="371428" y="798382"/>
                    </a:cubicBezTo>
                    <a:cubicBezTo>
                      <a:pt x="371428" y="791951"/>
                      <a:pt x="376667" y="786713"/>
                      <a:pt x="383097" y="786713"/>
                    </a:cubicBezTo>
                    <a:close/>
                    <a:moveTo>
                      <a:pt x="182086" y="747876"/>
                    </a:moveTo>
                    <a:cubicBezTo>
                      <a:pt x="255102" y="747876"/>
                      <a:pt x="314493" y="807279"/>
                      <a:pt x="314493" y="880296"/>
                    </a:cubicBezTo>
                    <a:cubicBezTo>
                      <a:pt x="314493" y="953312"/>
                      <a:pt x="255102" y="1012703"/>
                      <a:pt x="182086" y="1012703"/>
                    </a:cubicBezTo>
                    <a:cubicBezTo>
                      <a:pt x="109069" y="1012703"/>
                      <a:pt x="49679" y="953300"/>
                      <a:pt x="49679" y="880296"/>
                    </a:cubicBezTo>
                    <a:cubicBezTo>
                      <a:pt x="49679" y="807291"/>
                      <a:pt x="109069" y="747876"/>
                      <a:pt x="182086" y="747876"/>
                    </a:cubicBezTo>
                    <a:close/>
                    <a:moveTo>
                      <a:pt x="506631" y="112886"/>
                    </a:moveTo>
                    <a:lnTo>
                      <a:pt x="195165" y="112886"/>
                    </a:lnTo>
                    <a:cubicBezTo>
                      <a:pt x="188735" y="112886"/>
                      <a:pt x="183496" y="107659"/>
                      <a:pt x="183496" y="101217"/>
                    </a:cubicBezTo>
                    <a:cubicBezTo>
                      <a:pt x="183496" y="94775"/>
                      <a:pt x="188735" y="89548"/>
                      <a:pt x="195165" y="89548"/>
                    </a:cubicBezTo>
                    <a:lnTo>
                      <a:pt x="506631" y="89548"/>
                    </a:lnTo>
                    <a:cubicBezTo>
                      <a:pt x="513073" y="89548"/>
                      <a:pt x="518300" y="94787"/>
                      <a:pt x="518300" y="101217"/>
                    </a:cubicBezTo>
                    <a:cubicBezTo>
                      <a:pt x="518300" y="107647"/>
                      <a:pt x="513073" y="112886"/>
                      <a:pt x="506631" y="112886"/>
                    </a:cubicBezTo>
                    <a:close/>
                  </a:path>
                </a:pathLst>
              </a:custGeom>
              <a:solidFill>
                <a:srgbClr val="00D63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1" name="Freeform: Shape 100">
                <a:extLst>
                  <a:ext uri="{FF2B5EF4-FFF2-40B4-BE49-F238E27FC236}">
                    <a16:creationId xmlns:a16="http://schemas.microsoft.com/office/drawing/2014/main" id="{AC206FF5-1D27-EF74-E497-8E9D2574481F}"/>
                  </a:ext>
                </a:extLst>
              </p:cNvPr>
              <p:cNvSpPr/>
              <p:nvPr/>
            </p:nvSpPr>
            <p:spPr>
              <a:xfrm>
                <a:off x="4663892" y="2566393"/>
                <a:ext cx="86769" cy="47320"/>
              </a:xfrm>
              <a:custGeom>
                <a:avLst/>
                <a:gdLst>
                  <a:gd name="connsiteX0" fmla="*/ 99649 w 149022"/>
                  <a:gd name="connsiteY0" fmla="*/ 24250 h 81270"/>
                  <a:gd name="connsiteX1" fmla="*/ 21867 w 149022"/>
                  <a:gd name="connsiteY1" fmla="*/ 377 h 81270"/>
                  <a:gd name="connsiteX2" fmla="*/ 10259 w 149022"/>
                  <a:gd name="connsiteY2" fmla="*/ 0 h 81270"/>
                  <a:gd name="connsiteX3" fmla="*/ 0 w 149022"/>
                  <a:gd name="connsiteY3" fmla="*/ 10259 h 81270"/>
                  <a:gd name="connsiteX4" fmla="*/ 10259 w 149022"/>
                  <a:gd name="connsiteY4" fmla="*/ 20530 h 81270"/>
                  <a:gd name="connsiteX5" fmla="*/ 21867 w 149022"/>
                  <a:gd name="connsiteY5" fmla="*/ 20980 h 81270"/>
                  <a:gd name="connsiteX6" fmla="*/ 99649 w 149022"/>
                  <a:gd name="connsiteY6" fmla="*/ 48657 h 81270"/>
                  <a:gd name="connsiteX7" fmla="*/ 130803 w 149022"/>
                  <a:gd name="connsiteY7" fmla="*/ 77514 h 81270"/>
                  <a:gd name="connsiteX8" fmla="*/ 138752 w 149022"/>
                  <a:gd name="connsiteY8" fmla="*/ 81270 h 81270"/>
                  <a:gd name="connsiteX9" fmla="*/ 145267 w 149022"/>
                  <a:gd name="connsiteY9" fmla="*/ 78936 h 81270"/>
                  <a:gd name="connsiteX10" fmla="*/ 146690 w 149022"/>
                  <a:gd name="connsiteY10" fmla="*/ 64471 h 81270"/>
                  <a:gd name="connsiteX11" fmla="*/ 99649 w 149022"/>
                  <a:gd name="connsiteY11" fmla="*/ 24250 h 8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022" h="81270">
                    <a:moveTo>
                      <a:pt x="99649" y="24250"/>
                    </a:moveTo>
                    <a:cubicBezTo>
                      <a:pt x="76153" y="10454"/>
                      <a:pt x="49606" y="2188"/>
                      <a:pt x="21867" y="377"/>
                    </a:cubicBezTo>
                    <a:cubicBezTo>
                      <a:pt x="18026" y="134"/>
                      <a:pt x="14161" y="0"/>
                      <a:pt x="10259" y="0"/>
                    </a:cubicBezTo>
                    <a:cubicBezTo>
                      <a:pt x="4595" y="0"/>
                      <a:pt x="0" y="4595"/>
                      <a:pt x="0" y="10259"/>
                    </a:cubicBezTo>
                    <a:cubicBezTo>
                      <a:pt x="0" y="15923"/>
                      <a:pt x="4595" y="20530"/>
                      <a:pt x="10259" y="20530"/>
                    </a:cubicBezTo>
                    <a:cubicBezTo>
                      <a:pt x="14149" y="20530"/>
                      <a:pt x="18014" y="20688"/>
                      <a:pt x="21867" y="20980"/>
                    </a:cubicBezTo>
                    <a:cubicBezTo>
                      <a:pt x="50067" y="23059"/>
                      <a:pt x="76845" y="32686"/>
                      <a:pt x="99649" y="48657"/>
                    </a:cubicBezTo>
                    <a:cubicBezTo>
                      <a:pt x="111148" y="56729"/>
                      <a:pt x="121650" y="66392"/>
                      <a:pt x="130803" y="77514"/>
                    </a:cubicBezTo>
                    <a:cubicBezTo>
                      <a:pt x="132845" y="79994"/>
                      <a:pt x="135786" y="81270"/>
                      <a:pt x="138752" y="81270"/>
                    </a:cubicBezTo>
                    <a:cubicBezTo>
                      <a:pt x="141037" y="81270"/>
                      <a:pt x="143359" y="80504"/>
                      <a:pt x="145267" y="78936"/>
                    </a:cubicBezTo>
                    <a:cubicBezTo>
                      <a:pt x="149656" y="75326"/>
                      <a:pt x="150288" y="68847"/>
                      <a:pt x="146690" y="64471"/>
                    </a:cubicBezTo>
                    <a:cubicBezTo>
                      <a:pt x="133270" y="48171"/>
                      <a:pt x="117335" y="34642"/>
                      <a:pt x="99649" y="2425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2" name="Freeform: Shape 101">
                <a:extLst>
                  <a:ext uri="{FF2B5EF4-FFF2-40B4-BE49-F238E27FC236}">
                    <a16:creationId xmlns:a16="http://schemas.microsoft.com/office/drawing/2014/main" id="{C077CC32-6581-F39F-709C-ED9C8D3CDC53}"/>
                  </a:ext>
                </a:extLst>
              </p:cNvPr>
              <p:cNvSpPr/>
              <p:nvPr/>
            </p:nvSpPr>
            <p:spPr>
              <a:xfrm>
                <a:off x="4754327" y="2628599"/>
                <a:ext cx="18324" cy="46561"/>
              </a:xfrm>
              <a:custGeom>
                <a:avLst/>
                <a:gdLst>
                  <a:gd name="connsiteX0" fmla="*/ 6602 w 31471"/>
                  <a:gd name="connsiteY0" fmla="*/ 678 h 79966"/>
                  <a:gd name="connsiteX1" fmla="*/ 683 w 31471"/>
                  <a:gd name="connsiteY1" fmla="*/ 13951 h 79966"/>
                  <a:gd name="connsiteX2" fmla="*/ 10930 w 31471"/>
                  <a:gd name="connsiteY2" fmla="*/ 69695 h 79966"/>
                  <a:gd name="connsiteX3" fmla="*/ 21201 w 31471"/>
                  <a:gd name="connsiteY3" fmla="*/ 79966 h 79966"/>
                  <a:gd name="connsiteX4" fmla="*/ 31472 w 31471"/>
                  <a:gd name="connsiteY4" fmla="*/ 69695 h 79966"/>
                  <a:gd name="connsiteX5" fmla="*/ 19852 w 31471"/>
                  <a:gd name="connsiteY5" fmla="*/ 6597 h 79966"/>
                  <a:gd name="connsiteX6" fmla="*/ 6590 w 31471"/>
                  <a:gd name="connsiteY6" fmla="*/ 678 h 79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71" h="79966">
                    <a:moveTo>
                      <a:pt x="6602" y="678"/>
                    </a:moveTo>
                    <a:cubicBezTo>
                      <a:pt x="1303" y="2708"/>
                      <a:pt x="-1347" y="8652"/>
                      <a:pt x="683" y="13951"/>
                    </a:cubicBezTo>
                    <a:cubicBezTo>
                      <a:pt x="7490" y="31722"/>
                      <a:pt x="10930" y="50478"/>
                      <a:pt x="10930" y="69695"/>
                    </a:cubicBezTo>
                    <a:cubicBezTo>
                      <a:pt x="10930" y="75372"/>
                      <a:pt x="15536" y="79966"/>
                      <a:pt x="21201" y="79966"/>
                    </a:cubicBezTo>
                    <a:cubicBezTo>
                      <a:pt x="26865" y="79966"/>
                      <a:pt x="31472" y="75372"/>
                      <a:pt x="31472" y="69695"/>
                    </a:cubicBezTo>
                    <a:cubicBezTo>
                      <a:pt x="31472" y="47962"/>
                      <a:pt x="27570" y="26726"/>
                      <a:pt x="19852" y="6597"/>
                    </a:cubicBezTo>
                    <a:cubicBezTo>
                      <a:pt x="17834" y="1298"/>
                      <a:pt x="11890" y="-1340"/>
                      <a:pt x="6590" y="678"/>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3" name="Freeform: Shape 102">
                <a:extLst>
                  <a:ext uri="{FF2B5EF4-FFF2-40B4-BE49-F238E27FC236}">
                    <a16:creationId xmlns:a16="http://schemas.microsoft.com/office/drawing/2014/main" id="{13AA168A-B669-BA43-9EBA-F106EF80A373}"/>
                  </a:ext>
                </a:extLst>
              </p:cNvPr>
              <p:cNvSpPr/>
              <p:nvPr/>
            </p:nvSpPr>
            <p:spPr>
              <a:xfrm>
                <a:off x="4527552" y="2526866"/>
                <a:ext cx="284606" cy="284619"/>
              </a:xfrm>
              <a:custGeom>
                <a:avLst/>
                <a:gdLst>
                  <a:gd name="connsiteX0" fmla="*/ 488751 w 488799"/>
                  <a:gd name="connsiteY0" fmla="*/ 238510 h 488823"/>
                  <a:gd name="connsiteX1" fmla="*/ 488641 w 488799"/>
                  <a:gd name="connsiteY1" fmla="*/ 234925 h 488823"/>
                  <a:gd name="connsiteX2" fmla="*/ 488556 w 488799"/>
                  <a:gd name="connsiteY2" fmla="*/ 232810 h 488823"/>
                  <a:gd name="connsiteX3" fmla="*/ 488483 w 488799"/>
                  <a:gd name="connsiteY3" fmla="*/ 231375 h 488823"/>
                  <a:gd name="connsiteX4" fmla="*/ 488325 w 488799"/>
                  <a:gd name="connsiteY4" fmla="*/ 228750 h 488823"/>
                  <a:gd name="connsiteX5" fmla="*/ 488301 w 488799"/>
                  <a:gd name="connsiteY5" fmla="*/ 228203 h 488823"/>
                  <a:gd name="connsiteX6" fmla="*/ 487839 w 488799"/>
                  <a:gd name="connsiteY6" fmla="*/ 222393 h 488823"/>
                  <a:gd name="connsiteX7" fmla="*/ 487547 w 488799"/>
                  <a:gd name="connsiteY7" fmla="*/ 219293 h 488823"/>
                  <a:gd name="connsiteX8" fmla="*/ 486830 w 488799"/>
                  <a:gd name="connsiteY8" fmla="*/ 213130 h 488823"/>
                  <a:gd name="connsiteX9" fmla="*/ 486417 w 488799"/>
                  <a:gd name="connsiteY9" fmla="*/ 210055 h 488823"/>
                  <a:gd name="connsiteX10" fmla="*/ 485967 w 488799"/>
                  <a:gd name="connsiteY10" fmla="*/ 207004 h 488823"/>
                  <a:gd name="connsiteX11" fmla="*/ 485505 w 488799"/>
                  <a:gd name="connsiteY11" fmla="*/ 204099 h 488823"/>
                  <a:gd name="connsiteX12" fmla="*/ 485469 w 488799"/>
                  <a:gd name="connsiteY12" fmla="*/ 203844 h 488823"/>
                  <a:gd name="connsiteX13" fmla="*/ 484958 w 488799"/>
                  <a:gd name="connsiteY13" fmla="*/ 200939 h 488823"/>
                  <a:gd name="connsiteX14" fmla="*/ 484399 w 488799"/>
                  <a:gd name="connsiteY14" fmla="*/ 197912 h 488823"/>
                  <a:gd name="connsiteX15" fmla="*/ 483804 w 488799"/>
                  <a:gd name="connsiteY15" fmla="*/ 194910 h 488823"/>
                  <a:gd name="connsiteX16" fmla="*/ 483159 w 488799"/>
                  <a:gd name="connsiteY16" fmla="*/ 191907 h 488823"/>
                  <a:gd name="connsiteX17" fmla="*/ 481786 w 488799"/>
                  <a:gd name="connsiteY17" fmla="*/ 185975 h 488823"/>
                  <a:gd name="connsiteX18" fmla="*/ 480254 w 488799"/>
                  <a:gd name="connsiteY18" fmla="*/ 180092 h 488823"/>
                  <a:gd name="connsiteX19" fmla="*/ 479574 w 488799"/>
                  <a:gd name="connsiteY19" fmla="*/ 177625 h 488823"/>
                  <a:gd name="connsiteX20" fmla="*/ 479282 w 488799"/>
                  <a:gd name="connsiteY20" fmla="*/ 176616 h 488823"/>
                  <a:gd name="connsiteX21" fmla="*/ 478103 w 488799"/>
                  <a:gd name="connsiteY21" fmla="*/ 172678 h 488823"/>
                  <a:gd name="connsiteX22" fmla="*/ 477252 w 488799"/>
                  <a:gd name="connsiteY22" fmla="*/ 169930 h 488823"/>
                  <a:gd name="connsiteX23" fmla="*/ 476292 w 488799"/>
                  <a:gd name="connsiteY23" fmla="*/ 167013 h 488823"/>
                  <a:gd name="connsiteX24" fmla="*/ 474833 w 488799"/>
                  <a:gd name="connsiteY24" fmla="*/ 162783 h 488823"/>
                  <a:gd name="connsiteX25" fmla="*/ 473812 w 488799"/>
                  <a:gd name="connsiteY25" fmla="*/ 159951 h 488823"/>
                  <a:gd name="connsiteX26" fmla="*/ 472766 w 488799"/>
                  <a:gd name="connsiteY26" fmla="*/ 157143 h 488823"/>
                  <a:gd name="connsiteX27" fmla="*/ 471673 w 488799"/>
                  <a:gd name="connsiteY27" fmla="*/ 154347 h 488823"/>
                  <a:gd name="connsiteX28" fmla="*/ 470554 w 488799"/>
                  <a:gd name="connsiteY28" fmla="*/ 151564 h 488823"/>
                  <a:gd name="connsiteX29" fmla="*/ 468245 w 488799"/>
                  <a:gd name="connsiteY29" fmla="*/ 146130 h 488823"/>
                  <a:gd name="connsiteX30" fmla="*/ 468208 w 488799"/>
                  <a:gd name="connsiteY30" fmla="*/ 146045 h 488823"/>
                  <a:gd name="connsiteX31" fmla="*/ 466993 w 488799"/>
                  <a:gd name="connsiteY31" fmla="*/ 143335 h 488823"/>
                  <a:gd name="connsiteX32" fmla="*/ 465741 w 488799"/>
                  <a:gd name="connsiteY32" fmla="*/ 140624 h 488823"/>
                  <a:gd name="connsiteX33" fmla="*/ 464829 w 488799"/>
                  <a:gd name="connsiteY33" fmla="*/ 138740 h 488823"/>
                  <a:gd name="connsiteX34" fmla="*/ 462848 w 488799"/>
                  <a:gd name="connsiteY34" fmla="*/ 134705 h 488823"/>
                  <a:gd name="connsiteX35" fmla="*/ 460392 w 488799"/>
                  <a:gd name="connsiteY35" fmla="*/ 129964 h 488823"/>
                  <a:gd name="connsiteX36" fmla="*/ 459092 w 488799"/>
                  <a:gd name="connsiteY36" fmla="*/ 127533 h 488823"/>
                  <a:gd name="connsiteX37" fmla="*/ 456065 w 488799"/>
                  <a:gd name="connsiteY37" fmla="*/ 122172 h 488823"/>
                  <a:gd name="connsiteX38" fmla="*/ 454728 w 488799"/>
                  <a:gd name="connsiteY38" fmla="*/ 119875 h 488823"/>
                  <a:gd name="connsiteX39" fmla="*/ 450352 w 488799"/>
                  <a:gd name="connsiteY39" fmla="*/ 112776 h 488823"/>
                  <a:gd name="connsiteX40" fmla="*/ 448274 w 488799"/>
                  <a:gd name="connsiteY40" fmla="*/ 109567 h 488823"/>
                  <a:gd name="connsiteX41" fmla="*/ 432399 w 488799"/>
                  <a:gd name="connsiteY41" fmla="*/ 88247 h 488823"/>
                  <a:gd name="connsiteX42" fmla="*/ 431086 w 488799"/>
                  <a:gd name="connsiteY42" fmla="*/ 86679 h 488823"/>
                  <a:gd name="connsiteX43" fmla="*/ 429214 w 488799"/>
                  <a:gd name="connsiteY43" fmla="*/ 84479 h 488823"/>
                  <a:gd name="connsiteX44" fmla="*/ 428594 w 488799"/>
                  <a:gd name="connsiteY44" fmla="*/ 83750 h 488823"/>
                  <a:gd name="connsiteX45" fmla="*/ 426102 w 488799"/>
                  <a:gd name="connsiteY45" fmla="*/ 80942 h 488823"/>
                  <a:gd name="connsiteX46" fmla="*/ 420608 w 488799"/>
                  <a:gd name="connsiteY46" fmla="*/ 75059 h 488823"/>
                  <a:gd name="connsiteX47" fmla="*/ 418554 w 488799"/>
                  <a:gd name="connsiteY47" fmla="*/ 72956 h 488823"/>
                  <a:gd name="connsiteX48" fmla="*/ 416476 w 488799"/>
                  <a:gd name="connsiteY48" fmla="*/ 70865 h 488823"/>
                  <a:gd name="connsiteX49" fmla="*/ 414263 w 488799"/>
                  <a:gd name="connsiteY49" fmla="*/ 68714 h 488823"/>
                  <a:gd name="connsiteX50" fmla="*/ 412051 w 488799"/>
                  <a:gd name="connsiteY50" fmla="*/ 66611 h 488823"/>
                  <a:gd name="connsiteX51" fmla="*/ 407468 w 488799"/>
                  <a:gd name="connsiteY51" fmla="*/ 62393 h 488823"/>
                  <a:gd name="connsiteX52" fmla="*/ 405159 w 488799"/>
                  <a:gd name="connsiteY52" fmla="*/ 60351 h 488823"/>
                  <a:gd name="connsiteX53" fmla="*/ 402825 w 488799"/>
                  <a:gd name="connsiteY53" fmla="*/ 58333 h 488823"/>
                  <a:gd name="connsiteX54" fmla="*/ 399021 w 488799"/>
                  <a:gd name="connsiteY54" fmla="*/ 55173 h 488823"/>
                  <a:gd name="connsiteX55" fmla="*/ 396930 w 488799"/>
                  <a:gd name="connsiteY55" fmla="*/ 53471 h 488823"/>
                  <a:gd name="connsiteX56" fmla="*/ 366068 w 488799"/>
                  <a:gd name="connsiteY56" fmla="*/ 32430 h 488823"/>
                  <a:gd name="connsiteX57" fmla="*/ 362591 w 488799"/>
                  <a:gd name="connsiteY57" fmla="*/ 30461 h 488823"/>
                  <a:gd name="connsiteX58" fmla="*/ 359346 w 488799"/>
                  <a:gd name="connsiteY58" fmla="*/ 28699 h 488823"/>
                  <a:gd name="connsiteX59" fmla="*/ 356587 w 488799"/>
                  <a:gd name="connsiteY59" fmla="*/ 27252 h 488823"/>
                  <a:gd name="connsiteX60" fmla="*/ 353815 w 488799"/>
                  <a:gd name="connsiteY60" fmla="*/ 25830 h 488823"/>
                  <a:gd name="connsiteX61" fmla="*/ 345926 w 488799"/>
                  <a:gd name="connsiteY61" fmla="*/ 22050 h 488823"/>
                  <a:gd name="connsiteX62" fmla="*/ 342499 w 488799"/>
                  <a:gd name="connsiteY62" fmla="*/ 20506 h 488823"/>
                  <a:gd name="connsiteX63" fmla="*/ 339119 w 488799"/>
                  <a:gd name="connsiteY63" fmla="*/ 19059 h 488823"/>
                  <a:gd name="connsiteX64" fmla="*/ 336749 w 488799"/>
                  <a:gd name="connsiteY64" fmla="*/ 18075 h 488823"/>
                  <a:gd name="connsiteX65" fmla="*/ 333808 w 488799"/>
                  <a:gd name="connsiteY65" fmla="*/ 16884 h 488823"/>
                  <a:gd name="connsiteX66" fmla="*/ 256014 w 488799"/>
                  <a:gd name="connsiteY66" fmla="*/ 280 h 488823"/>
                  <a:gd name="connsiteX67" fmla="*/ 244430 w 488799"/>
                  <a:gd name="connsiteY67" fmla="*/ 0 h 488823"/>
                  <a:gd name="connsiteX68" fmla="*/ 240091 w 488799"/>
                  <a:gd name="connsiteY68" fmla="*/ 36 h 488823"/>
                  <a:gd name="connsiteX69" fmla="*/ 236894 w 488799"/>
                  <a:gd name="connsiteY69" fmla="*/ 109 h 488823"/>
                  <a:gd name="connsiteX70" fmla="*/ 225480 w 488799"/>
                  <a:gd name="connsiteY70" fmla="*/ 717 h 488823"/>
                  <a:gd name="connsiteX71" fmla="*/ 223110 w 488799"/>
                  <a:gd name="connsiteY71" fmla="*/ 912 h 488823"/>
                  <a:gd name="connsiteX72" fmla="*/ 220253 w 488799"/>
                  <a:gd name="connsiteY72" fmla="*/ 1179 h 488823"/>
                  <a:gd name="connsiteX73" fmla="*/ 216291 w 488799"/>
                  <a:gd name="connsiteY73" fmla="*/ 1604 h 488823"/>
                  <a:gd name="connsiteX74" fmla="*/ 216157 w 488799"/>
                  <a:gd name="connsiteY74" fmla="*/ 1617 h 488823"/>
                  <a:gd name="connsiteX75" fmla="*/ 212328 w 488799"/>
                  <a:gd name="connsiteY75" fmla="*/ 2091 h 488823"/>
                  <a:gd name="connsiteX76" fmla="*/ 208584 w 488799"/>
                  <a:gd name="connsiteY76" fmla="*/ 2613 h 488823"/>
                  <a:gd name="connsiteX77" fmla="*/ 208268 w 488799"/>
                  <a:gd name="connsiteY77" fmla="*/ 2662 h 488823"/>
                  <a:gd name="connsiteX78" fmla="*/ 204998 w 488799"/>
                  <a:gd name="connsiteY78" fmla="*/ 3160 h 488823"/>
                  <a:gd name="connsiteX79" fmla="*/ 203880 w 488799"/>
                  <a:gd name="connsiteY79" fmla="*/ 3343 h 488823"/>
                  <a:gd name="connsiteX80" fmla="*/ 200610 w 488799"/>
                  <a:gd name="connsiteY80" fmla="*/ 3914 h 488823"/>
                  <a:gd name="connsiteX81" fmla="*/ 197815 w 488799"/>
                  <a:gd name="connsiteY81" fmla="*/ 4437 h 488823"/>
                  <a:gd name="connsiteX82" fmla="*/ 195007 w 488799"/>
                  <a:gd name="connsiteY82" fmla="*/ 4996 h 488823"/>
                  <a:gd name="connsiteX83" fmla="*/ 194618 w 488799"/>
                  <a:gd name="connsiteY83" fmla="*/ 5069 h 488823"/>
                  <a:gd name="connsiteX84" fmla="*/ 191859 w 488799"/>
                  <a:gd name="connsiteY84" fmla="*/ 5652 h 488823"/>
                  <a:gd name="connsiteX85" fmla="*/ 191628 w 488799"/>
                  <a:gd name="connsiteY85" fmla="*/ 5701 h 488823"/>
                  <a:gd name="connsiteX86" fmla="*/ 188832 w 488799"/>
                  <a:gd name="connsiteY86" fmla="*/ 6333 h 488823"/>
                  <a:gd name="connsiteX87" fmla="*/ 187884 w 488799"/>
                  <a:gd name="connsiteY87" fmla="*/ 6552 h 488823"/>
                  <a:gd name="connsiteX88" fmla="*/ 185270 w 488799"/>
                  <a:gd name="connsiteY88" fmla="*/ 7184 h 488823"/>
                  <a:gd name="connsiteX89" fmla="*/ 181599 w 488799"/>
                  <a:gd name="connsiteY89" fmla="*/ 8132 h 488823"/>
                  <a:gd name="connsiteX90" fmla="*/ 181429 w 488799"/>
                  <a:gd name="connsiteY90" fmla="*/ 8180 h 488823"/>
                  <a:gd name="connsiteX91" fmla="*/ 178354 w 488799"/>
                  <a:gd name="connsiteY91" fmla="*/ 9007 h 488823"/>
                  <a:gd name="connsiteX92" fmla="*/ 173164 w 488799"/>
                  <a:gd name="connsiteY92" fmla="*/ 10526 h 488823"/>
                  <a:gd name="connsiteX93" fmla="*/ 170368 w 488799"/>
                  <a:gd name="connsiteY93" fmla="*/ 11389 h 488823"/>
                  <a:gd name="connsiteX94" fmla="*/ 168229 w 488799"/>
                  <a:gd name="connsiteY94" fmla="*/ 12094 h 488823"/>
                  <a:gd name="connsiteX95" fmla="*/ 165652 w 488799"/>
                  <a:gd name="connsiteY95" fmla="*/ 12945 h 488823"/>
                  <a:gd name="connsiteX96" fmla="*/ 163002 w 488799"/>
                  <a:gd name="connsiteY96" fmla="*/ 13869 h 488823"/>
                  <a:gd name="connsiteX97" fmla="*/ 155794 w 488799"/>
                  <a:gd name="connsiteY97" fmla="*/ 16555 h 488823"/>
                  <a:gd name="connsiteX98" fmla="*/ 152889 w 488799"/>
                  <a:gd name="connsiteY98" fmla="*/ 17710 h 488823"/>
                  <a:gd name="connsiteX99" fmla="*/ 148671 w 488799"/>
                  <a:gd name="connsiteY99" fmla="*/ 19461 h 488823"/>
                  <a:gd name="connsiteX100" fmla="*/ 145158 w 488799"/>
                  <a:gd name="connsiteY100" fmla="*/ 20992 h 488823"/>
                  <a:gd name="connsiteX101" fmla="*/ 142046 w 488799"/>
                  <a:gd name="connsiteY101" fmla="*/ 22414 h 488823"/>
                  <a:gd name="connsiteX102" fmla="*/ 137500 w 488799"/>
                  <a:gd name="connsiteY102" fmla="*/ 24566 h 488823"/>
                  <a:gd name="connsiteX103" fmla="*/ 131398 w 488799"/>
                  <a:gd name="connsiteY103" fmla="*/ 27641 h 488823"/>
                  <a:gd name="connsiteX104" fmla="*/ 128031 w 488799"/>
                  <a:gd name="connsiteY104" fmla="*/ 29440 h 488823"/>
                  <a:gd name="connsiteX105" fmla="*/ 124701 w 488799"/>
                  <a:gd name="connsiteY105" fmla="*/ 31275 h 488823"/>
                  <a:gd name="connsiteX106" fmla="*/ 119170 w 488799"/>
                  <a:gd name="connsiteY106" fmla="*/ 34484 h 488823"/>
                  <a:gd name="connsiteX107" fmla="*/ 117371 w 488799"/>
                  <a:gd name="connsiteY107" fmla="*/ 35578 h 488823"/>
                  <a:gd name="connsiteX108" fmla="*/ 114891 w 488799"/>
                  <a:gd name="connsiteY108" fmla="*/ 37110 h 488823"/>
                  <a:gd name="connsiteX109" fmla="*/ 111877 w 488799"/>
                  <a:gd name="connsiteY109" fmla="*/ 39006 h 488823"/>
                  <a:gd name="connsiteX110" fmla="*/ 95771 w 488799"/>
                  <a:gd name="connsiteY110" fmla="*/ 50384 h 488823"/>
                  <a:gd name="connsiteX111" fmla="*/ 93693 w 488799"/>
                  <a:gd name="connsiteY111" fmla="*/ 51988 h 488823"/>
                  <a:gd name="connsiteX112" fmla="*/ 90265 w 488799"/>
                  <a:gd name="connsiteY112" fmla="*/ 54747 h 488823"/>
                  <a:gd name="connsiteX113" fmla="*/ 87360 w 488799"/>
                  <a:gd name="connsiteY113" fmla="*/ 57154 h 488823"/>
                  <a:gd name="connsiteX114" fmla="*/ 81379 w 488799"/>
                  <a:gd name="connsiteY114" fmla="*/ 62344 h 488823"/>
                  <a:gd name="connsiteX115" fmla="*/ 78851 w 488799"/>
                  <a:gd name="connsiteY115" fmla="*/ 64642 h 488823"/>
                  <a:gd name="connsiteX116" fmla="*/ 76931 w 488799"/>
                  <a:gd name="connsiteY116" fmla="*/ 66428 h 488823"/>
                  <a:gd name="connsiteX117" fmla="*/ 75436 w 488799"/>
                  <a:gd name="connsiteY117" fmla="*/ 67838 h 488823"/>
                  <a:gd name="connsiteX118" fmla="*/ 70671 w 488799"/>
                  <a:gd name="connsiteY118" fmla="*/ 72518 h 488823"/>
                  <a:gd name="connsiteX119" fmla="*/ 68045 w 488799"/>
                  <a:gd name="connsiteY119" fmla="*/ 75229 h 488823"/>
                  <a:gd name="connsiteX120" fmla="*/ 65456 w 488799"/>
                  <a:gd name="connsiteY120" fmla="*/ 77976 h 488823"/>
                  <a:gd name="connsiteX121" fmla="*/ 62891 w 488799"/>
                  <a:gd name="connsiteY121" fmla="*/ 80772 h 488823"/>
                  <a:gd name="connsiteX122" fmla="*/ 55501 w 488799"/>
                  <a:gd name="connsiteY122" fmla="*/ 89365 h 488823"/>
                  <a:gd name="connsiteX123" fmla="*/ 53118 w 488799"/>
                  <a:gd name="connsiteY123" fmla="*/ 92319 h 488823"/>
                  <a:gd name="connsiteX124" fmla="*/ 50153 w 488799"/>
                  <a:gd name="connsiteY124" fmla="*/ 96124 h 488823"/>
                  <a:gd name="connsiteX125" fmla="*/ 48487 w 488799"/>
                  <a:gd name="connsiteY125" fmla="*/ 98324 h 488823"/>
                  <a:gd name="connsiteX126" fmla="*/ 46239 w 488799"/>
                  <a:gd name="connsiteY126" fmla="*/ 101375 h 488823"/>
                  <a:gd name="connsiteX127" fmla="*/ 44038 w 488799"/>
                  <a:gd name="connsiteY127" fmla="*/ 104462 h 488823"/>
                  <a:gd name="connsiteX128" fmla="*/ 41984 w 488799"/>
                  <a:gd name="connsiteY128" fmla="*/ 107440 h 488823"/>
                  <a:gd name="connsiteX129" fmla="*/ 37730 w 488799"/>
                  <a:gd name="connsiteY129" fmla="*/ 113931 h 488823"/>
                  <a:gd name="connsiteX130" fmla="*/ 35967 w 488799"/>
                  <a:gd name="connsiteY130" fmla="*/ 116763 h 488823"/>
                  <a:gd name="connsiteX131" fmla="*/ 34497 w 488799"/>
                  <a:gd name="connsiteY131" fmla="*/ 119194 h 488823"/>
                  <a:gd name="connsiteX132" fmla="*/ 32552 w 488799"/>
                  <a:gd name="connsiteY132" fmla="*/ 122501 h 488823"/>
                  <a:gd name="connsiteX133" fmla="*/ 30789 w 488799"/>
                  <a:gd name="connsiteY133" fmla="*/ 125600 h 488823"/>
                  <a:gd name="connsiteX134" fmla="*/ 29294 w 488799"/>
                  <a:gd name="connsiteY134" fmla="*/ 128335 h 488823"/>
                  <a:gd name="connsiteX135" fmla="*/ 27726 w 488799"/>
                  <a:gd name="connsiteY135" fmla="*/ 131289 h 488823"/>
                  <a:gd name="connsiteX136" fmla="*/ 26195 w 488799"/>
                  <a:gd name="connsiteY136" fmla="*/ 134279 h 488823"/>
                  <a:gd name="connsiteX137" fmla="*/ 24699 w 488799"/>
                  <a:gd name="connsiteY137" fmla="*/ 137281 h 488823"/>
                  <a:gd name="connsiteX138" fmla="*/ 20457 w 488799"/>
                  <a:gd name="connsiteY138" fmla="*/ 146422 h 488823"/>
                  <a:gd name="connsiteX139" fmla="*/ 18512 w 488799"/>
                  <a:gd name="connsiteY139" fmla="*/ 150968 h 488823"/>
                  <a:gd name="connsiteX140" fmla="*/ 18233 w 488799"/>
                  <a:gd name="connsiteY140" fmla="*/ 151661 h 488823"/>
                  <a:gd name="connsiteX141" fmla="*/ 14805 w 488799"/>
                  <a:gd name="connsiteY141" fmla="*/ 160510 h 488823"/>
                  <a:gd name="connsiteX142" fmla="*/ 13115 w 488799"/>
                  <a:gd name="connsiteY142" fmla="*/ 165299 h 488823"/>
                  <a:gd name="connsiteX143" fmla="*/ 11511 w 488799"/>
                  <a:gd name="connsiteY143" fmla="*/ 170137 h 488823"/>
                  <a:gd name="connsiteX144" fmla="*/ 10016 w 488799"/>
                  <a:gd name="connsiteY144" fmla="*/ 175011 h 488823"/>
                  <a:gd name="connsiteX145" fmla="*/ 9299 w 488799"/>
                  <a:gd name="connsiteY145" fmla="*/ 177467 h 488823"/>
                  <a:gd name="connsiteX146" fmla="*/ 8618 w 488799"/>
                  <a:gd name="connsiteY146" fmla="*/ 179946 h 488823"/>
                  <a:gd name="connsiteX147" fmla="*/ 7950 w 488799"/>
                  <a:gd name="connsiteY147" fmla="*/ 182426 h 488823"/>
                  <a:gd name="connsiteX148" fmla="*/ 7317 w 488799"/>
                  <a:gd name="connsiteY148" fmla="*/ 184906 h 488823"/>
                  <a:gd name="connsiteX149" fmla="*/ 6710 w 488799"/>
                  <a:gd name="connsiteY149" fmla="*/ 187410 h 488823"/>
                  <a:gd name="connsiteX150" fmla="*/ 4522 w 488799"/>
                  <a:gd name="connsiteY150" fmla="*/ 197499 h 488823"/>
                  <a:gd name="connsiteX151" fmla="*/ 3586 w 488799"/>
                  <a:gd name="connsiteY151" fmla="*/ 202592 h 488823"/>
                  <a:gd name="connsiteX152" fmla="*/ 2759 w 488799"/>
                  <a:gd name="connsiteY152" fmla="*/ 207733 h 488823"/>
                  <a:gd name="connsiteX153" fmla="*/ 2030 w 488799"/>
                  <a:gd name="connsiteY153" fmla="*/ 212899 h 488823"/>
                  <a:gd name="connsiteX154" fmla="*/ 1714 w 488799"/>
                  <a:gd name="connsiteY154" fmla="*/ 215488 h 488823"/>
                  <a:gd name="connsiteX155" fmla="*/ 1191 w 488799"/>
                  <a:gd name="connsiteY155" fmla="*/ 220399 h 488823"/>
                  <a:gd name="connsiteX156" fmla="*/ 851 w 488799"/>
                  <a:gd name="connsiteY156" fmla="*/ 224167 h 488823"/>
                  <a:gd name="connsiteX157" fmla="*/ 438 w 488799"/>
                  <a:gd name="connsiteY157" fmla="*/ 230002 h 488823"/>
                  <a:gd name="connsiteX158" fmla="*/ 280 w 488799"/>
                  <a:gd name="connsiteY158" fmla="*/ 232943 h 488823"/>
                  <a:gd name="connsiteX159" fmla="*/ 73 w 488799"/>
                  <a:gd name="connsiteY159" fmla="*/ 238826 h 488823"/>
                  <a:gd name="connsiteX160" fmla="*/ 12 w 488799"/>
                  <a:gd name="connsiteY160" fmla="*/ 241622 h 488823"/>
                  <a:gd name="connsiteX161" fmla="*/ 0 w 488799"/>
                  <a:gd name="connsiteY161" fmla="*/ 244430 h 488823"/>
                  <a:gd name="connsiteX162" fmla="*/ 49 w 488799"/>
                  <a:gd name="connsiteY162" fmla="*/ 249158 h 488823"/>
                  <a:gd name="connsiteX163" fmla="*/ 158 w 488799"/>
                  <a:gd name="connsiteY163" fmla="*/ 253340 h 488823"/>
                  <a:gd name="connsiteX164" fmla="*/ 219 w 488799"/>
                  <a:gd name="connsiteY164" fmla="*/ 254969 h 488823"/>
                  <a:gd name="connsiteX165" fmla="*/ 292 w 488799"/>
                  <a:gd name="connsiteY165" fmla="*/ 256707 h 488823"/>
                  <a:gd name="connsiteX166" fmla="*/ 450 w 488799"/>
                  <a:gd name="connsiteY166" fmla="*/ 259466 h 488823"/>
                  <a:gd name="connsiteX167" fmla="*/ 462 w 488799"/>
                  <a:gd name="connsiteY167" fmla="*/ 259721 h 488823"/>
                  <a:gd name="connsiteX168" fmla="*/ 1094 w 488799"/>
                  <a:gd name="connsiteY168" fmla="*/ 267853 h 488823"/>
                  <a:gd name="connsiteX169" fmla="*/ 1459 w 488799"/>
                  <a:gd name="connsiteY169" fmla="*/ 271415 h 488823"/>
                  <a:gd name="connsiteX170" fmla="*/ 1750 w 488799"/>
                  <a:gd name="connsiteY170" fmla="*/ 273992 h 488823"/>
                  <a:gd name="connsiteX171" fmla="*/ 2188 w 488799"/>
                  <a:gd name="connsiteY171" fmla="*/ 277444 h 488823"/>
                  <a:gd name="connsiteX172" fmla="*/ 2674 w 488799"/>
                  <a:gd name="connsiteY172" fmla="*/ 280835 h 488823"/>
                  <a:gd name="connsiteX173" fmla="*/ 3525 w 488799"/>
                  <a:gd name="connsiteY173" fmla="*/ 286135 h 488823"/>
                  <a:gd name="connsiteX174" fmla="*/ 4339 w 488799"/>
                  <a:gd name="connsiteY174" fmla="*/ 290644 h 488823"/>
                  <a:gd name="connsiteX175" fmla="*/ 5166 w 488799"/>
                  <a:gd name="connsiteY175" fmla="*/ 294777 h 488823"/>
                  <a:gd name="connsiteX176" fmla="*/ 5324 w 488799"/>
                  <a:gd name="connsiteY176" fmla="*/ 295531 h 488823"/>
                  <a:gd name="connsiteX177" fmla="*/ 6090 w 488799"/>
                  <a:gd name="connsiteY177" fmla="*/ 299007 h 488823"/>
                  <a:gd name="connsiteX178" fmla="*/ 7281 w 488799"/>
                  <a:gd name="connsiteY178" fmla="*/ 303991 h 488823"/>
                  <a:gd name="connsiteX179" fmla="*/ 8436 w 488799"/>
                  <a:gd name="connsiteY179" fmla="*/ 308367 h 488823"/>
                  <a:gd name="connsiteX180" fmla="*/ 9651 w 488799"/>
                  <a:gd name="connsiteY180" fmla="*/ 312718 h 488823"/>
                  <a:gd name="connsiteX181" fmla="*/ 10952 w 488799"/>
                  <a:gd name="connsiteY181" fmla="*/ 317033 h 488823"/>
                  <a:gd name="connsiteX182" fmla="*/ 11900 w 488799"/>
                  <a:gd name="connsiteY182" fmla="*/ 320011 h 488823"/>
                  <a:gd name="connsiteX183" fmla="*/ 12885 w 488799"/>
                  <a:gd name="connsiteY183" fmla="*/ 322977 h 488823"/>
                  <a:gd name="connsiteX184" fmla="*/ 13906 w 488799"/>
                  <a:gd name="connsiteY184" fmla="*/ 325919 h 488823"/>
                  <a:gd name="connsiteX185" fmla="*/ 14963 w 488799"/>
                  <a:gd name="connsiteY185" fmla="*/ 328836 h 488823"/>
                  <a:gd name="connsiteX186" fmla="*/ 16045 w 488799"/>
                  <a:gd name="connsiteY186" fmla="*/ 331741 h 488823"/>
                  <a:gd name="connsiteX187" fmla="*/ 17212 w 488799"/>
                  <a:gd name="connsiteY187" fmla="*/ 334707 h 488823"/>
                  <a:gd name="connsiteX188" fmla="*/ 18306 w 488799"/>
                  <a:gd name="connsiteY188" fmla="*/ 337430 h 488823"/>
                  <a:gd name="connsiteX189" fmla="*/ 18440 w 488799"/>
                  <a:gd name="connsiteY189" fmla="*/ 337734 h 488823"/>
                  <a:gd name="connsiteX190" fmla="*/ 19546 w 488799"/>
                  <a:gd name="connsiteY190" fmla="*/ 340359 h 488823"/>
                  <a:gd name="connsiteX191" fmla="*/ 21977 w 488799"/>
                  <a:gd name="connsiteY191" fmla="*/ 345853 h 488823"/>
                  <a:gd name="connsiteX192" fmla="*/ 24529 w 488799"/>
                  <a:gd name="connsiteY192" fmla="*/ 351275 h 488823"/>
                  <a:gd name="connsiteX193" fmla="*/ 25854 w 488799"/>
                  <a:gd name="connsiteY193" fmla="*/ 353973 h 488823"/>
                  <a:gd name="connsiteX194" fmla="*/ 27216 w 488799"/>
                  <a:gd name="connsiteY194" fmla="*/ 356623 h 488823"/>
                  <a:gd name="connsiteX195" fmla="*/ 28443 w 488799"/>
                  <a:gd name="connsiteY195" fmla="*/ 358957 h 488823"/>
                  <a:gd name="connsiteX196" fmla="*/ 30023 w 488799"/>
                  <a:gd name="connsiteY196" fmla="*/ 361911 h 488823"/>
                  <a:gd name="connsiteX197" fmla="*/ 32406 w 488799"/>
                  <a:gd name="connsiteY197" fmla="*/ 366141 h 488823"/>
                  <a:gd name="connsiteX198" fmla="*/ 33658 w 488799"/>
                  <a:gd name="connsiteY198" fmla="*/ 368292 h 488823"/>
                  <a:gd name="connsiteX199" fmla="*/ 35578 w 488799"/>
                  <a:gd name="connsiteY199" fmla="*/ 371489 h 488823"/>
                  <a:gd name="connsiteX200" fmla="*/ 38289 w 488799"/>
                  <a:gd name="connsiteY200" fmla="*/ 375828 h 488823"/>
                  <a:gd name="connsiteX201" fmla="*/ 40842 w 488799"/>
                  <a:gd name="connsiteY201" fmla="*/ 379742 h 488823"/>
                  <a:gd name="connsiteX202" fmla="*/ 42385 w 488799"/>
                  <a:gd name="connsiteY202" fmla="*/ 382028 h 488823"/>
                  <a:gd name="connsiteX203" fmla="*/ 42823 w 488799"/>
                  <a:gd name="connsiteY203" fmla="*/ 382660 h 488823"/>
                  <a:gd name="connsiteX204" fmla="*/ 45145 w 488799"/>
                  <a:gd name="connsiteY204" fmla="*/ 385978 h 488823"/>
                  <a:gd name="connsiteX205" fmla="*/ 48463 w 488799"/>
                  <a:gd name="connsiteY205" fmla="*/ 390536 h 488823"/>
                  <a:gd name="connsiteX206" fmla="*/ 50469 w 488799"/>
                  <a:gd name="connsiteY206" fmla="*/ 393162 h 488823"/>
                  <a:gd name="connsiteX207" fmla="*/ 51648 w 488799"/>
                  <a:gd name="connsiteY207" fmla="*/ 394705 h 488823"/>
                  <a:gd name="connsiteX208" fmla="*/ 53094 w 488799"/>
                  <a:gd name="connsiteY208" fmla="*/ 396517 h 488823"/>
                  <a:gd name="connsiteX209" fmla="*/ 56850 w 488799"/>
                  <a:gd name="connsiteY209" fmla="*/ 401123 h 488823"/>
                  <a:gd name="connsiteX210" fmla="*/ 58771 w 488799"/>
                  <a:gd name="connsiteY210" fmla="*/ 403384 h 488823"/>
                  <a:gd name="connsiteX211" fmla="*/ 61651 w 488799"/>
                  <a:gd name="connsiteY211" fmla="*/ 406691 h 488823"/>
                  <a:gd name="connsiteX212" fmla="*/ 63669 w 488799"/>
                  <a:gd name="connsiteY212" fmla="*/ 408939 h 488823"/>
                  <a:gd name="connsiteX213" fmla="*/ 65954 w 488799"/>
                  <a:gd name="connsiteY213" fmla="*/ 411407 h 488823"/>
                  <a:gd name="connsiteX214" fmla="*/ 68945 w 488799"/>
                  <a:gd name="connsiteY214" fmla="*/ 414543 h 488823"/>
                  <a:gd name="connsiteX215" fmla="*/ 70817 w 488799"/>
                  <a:gd name="connsiteY215" fmla="*/ 416463 h 488823"/>
                  <a:gd name="connsiteX216" fmla="*/ 72907 w 488799"/>
                  <a:gd name="connsiteY216" fmla="*/ 418554 h 488823"/>
                  <a:gd name="connsiteX217" fmla="*/ 76457 w 488799"/>
                  <a:gd name="connsiteY217" fmla="*/ 421970 h 488823"/>
                  <a:gd name="connsiteX218" fmla="*/ 78924 w 488799"/>
                  <a:gd name="connsiteY218" fmla="*/ 424255 h 488823"/>
                  <a:gd name="connsiteX219" fmla="*/ 81051 w 488799"/>
                  <a:gd name="connsiteY219" fmla="*/ 426212 h 488823"/>
                  <a:gd name="connsiteX220" fmla="*/ 85342 w 488799"/>
                  <a:gd name="connsiteY220" fmla="*/ 429980 h 488823"/>
                  <a:gd name="connsiteX221" fmla="*/ 87494 w 488799"/>
                  <a:gd name="connsiteY221" fmla="*/ 431803 h 488823"/>
                  <a:gd name="connsiteX222" fmla="*/ 88429 w 488799"/>
                  <a:gd name="connsiteY222" fmla="*/ 432581 h 488823"/>
                  <a:gd name="connsiteX223" fmla="*/ 90289 w 488799"/>
                  <a:gd name="connsiteY223" fmla="*/ 434113 h 488823"/>
                  <a:gd name="connsiteX224" fmla="*/ 93158 w 488799"/>
                  <a:gd name="connsiteY224" fmla="*/ 436422 h 488823"/>
                  <a:gd name="connsiteX225" fmla="*/ 100342 w 488799"/>
                  <a:gd name="connsiteY225" fmla="*/ 441868 h 488823"/>
                  <a:gd name="connsiteX226" fmla="*/ 108024 w 488799"/>
                  <a:gd name="connsiteY226" fmla="*/ 447265 h 488823"/>
                  <a:gd name="connsiteX227" fmla="*/ 111938 w 488799"/>
                  <a:gd name="connsiteY227" fmla="*/ 449842 h 488823"/>
                  <a:gd name="connsiteX228" fmla="*/ 115913 w 488799"/>
                  <a:gd name="connsiteY228" fmla="*/ 452358 h 488823"/>
                  <a:gd name="connsiteX229" fmla="*/ 119948 w 488799"/>
                  <a:gd name="connsiteY229" fmla="*/ 454813 h 488823"/>
                  <a:gd name="connsiteX230" fmla="*/ 124020 w 488799"/>
                  <a:gd name="connsiteY230" fmla="*/ 457171 h 488823"/>
                  <a:gd name="connsiteX231" fmla="*/ 128141 w 488799"/>
                  <a:gd name="connsiteY231" fmla="*/ 459457 h 488823"/>
                  <a:gd name="connsiteX232" fmla="*/ 132310 w 488799"/>
                  <a:gd name="connsiteY232" fmla="*/ 461669 h 488823"/>
                  <a:gd name="connsiteX233" fmla="*/ 136273 w 488799"/>
                  <a:gd name="connsiteY233" fmla="*/ 463662 h 488823"/>
                  <a:gd name="connsiteX234" fmla="*/ 137002 w 488799"/>
                  <a:gd name="connsiteY234" fmla="*/ 464015 h 488823"/>
                  <a:gd name="connsiteX235" fmla="*/ 140806 w 488799"/>
                  <a:gd name="connsiteY235" fmla="*/ 465850 h 488823"/>
                  <a:gd name="connsiteX236" fmla="*/ 145122 w 488799"/>
                  <a:gd name="connsiteY236" fmla="*/ 467819 h 488823"/>
                  <a:gd name="connsiteX237" fmla="*/ 149473 w 488799"/>
                  <a:gd name="connsiteY237" fmla="*/ 469703 h 488823"/>
                  <a:gd name="connsiteX238" fmla="*/ 153873 w 488799"/>
                  <a:gd name="connsiteY238" fmla="*/ 471515 h 488823"/>
                  <a:gd name="connsiteX239" fmla="*/ 157398 w 488799"/>
                  <a:gd name="connsiteY239" fmla="*/ 472876 h 488823"/>
                  <a:gd name="connsiteX240" fmla="*/ 159149 w 488799"/>
                  <a:gd name="connsiteY240" fmla="*/ 473544 h 488823"/>
                  <a:gd name="connsiteX241" fmla="*/ 161811 w 488799"/>
                  <a:gd name="connsiteY241" fmla="*/ 474517 h 488823"/>
                  <a:gd name="connsiteX242" fmla="*/ 163792 w 488799"/>
                  <a:gd name="connsiteY242" fmla="*/ 475222 h 488823"/>
                  <a:gd name="connsiteX243" fmla="*/ 172605 w 488799"/>
                  <a:gd name="connsiteY243" fmla="*/ 478115 h 488823"/>
                  <a:gd name="connsiteX244" fmla="*/ 175340 w 488799"/>
                  <a:gd name="connsiteY244" fmla="*/ 478929 h 488823"/>
                  <a:gd name="connsiteX245" fmla="*/ 178087 w 488799"/>
                  <a:gd name="connsiteY245" fmla="*/ 479719 h 488823"/>
                  <a:gd name="connsiteX246" fmla="*/ 190898 w 488799"/>
                  <a:gd name="connsiteY246" fmla="*/ 482953 h 488823"/>
                  <a:gd name="connsiteX247" fmla="*/ 197644 w 488799"/>
                  <a:gd name="connsiteY247" fmla="*/ 484375 h 488823"/>
                  <a:gd name="connsiteX248" fmla="*/ 204840 w 488799"/>
                  <a:gd name="connsiteY248" fmla="*/ 485651 h 488823"/>
                  <a:gd name="connsiteX249" fmla="*/ 207271 w 488799"/>
                  <a:gd name="connsiteY249" fmla="*/ 486028 h 488823"/>
                  <a:gd name="connsiteX250" fmla="*/ 212121 w 488799"/>
                  <a:gd name="connsiteY250" fmla="*/ 486721 h 488823"/>
                  <a:gd name="connsiteX251" fmla="*/ 217008 w 488799"/>
                  <a:gd name="connsiteY251" fmla="*/ 487316 h 488823"/>
                  <a:gd name="connsiteX252" fmla="*/ 219475 w 488799"/>
                  <a:gd name="connsiteY252" fmla="*/ 487572 h 488823"/>
                  <a:gd name="connsiteX253" fmla="*/ 225042 w 488799"/>
                  <a:gd name="connsiteY253" fmla="*/ 488082 h 488823"/>
                  <a:gd name="connsiteX254" fmla="*/ 229370 w 488799"/>
                  <a:gd name="connsiteY254" fmla="*/ 488374 h 488823"/>
                  <a:gd name="connsiteX255" fmla="*/ 231862 w 488799"/>
                  <a:gd name="connsiteY255" fmla="*/ 488520 h 488823"/>
                  <a:gd name="connsiteX256" fmla="*/ 233831 w 488799"/>
                  <a:gd name="connsiteY256" fmla="*/ 488605 h 488823"/>
                  <a:gd name="connsiteX257" fmla="*/ 235447 w 488799"/>
                  <a:gd name="connsiteY257" fmla="*/ 488666 h 488823"/>
                  <a:gd name="connsiteX258" fmla="*/ 238425 w 488799"/>
                  <a:gd name="connsiteY258" fmla="*/ 488751 h 488823"/>
                  <a:gd name="connsiteX259" fmla="*/ 240237 w 488799"/>
                  <a:gd name="connsiteY259" fmla="*/ 488787 h 488823"/>
                  <a:gd name="connsiteX260" fmla="*/ 241877 w 488799"/>
                  <a:gd name="connsiteY260" fmla="*/ 488811 h 488823"/>
                  <a:gd name="connsiteX261" fmla="*/ 244406 w 488799"/>
                  <a:gd name="connsiteY261" fmla="*/ 488824 h 488823"/>
                  <a:gd name="connsiteX262" fmla="*/ 247311 w 488799"/>
                  <a:gd name="connsiteY262" fmla="*/ 488811 h 488823"/>
                  <a:gd name="connsiteX263" fmla="*/ 250216 w 488799"/>
                  <a:gd name="connsiteY263" fmla="*/ 488751 h 488823"/>
                  <a:gd name="connsiteX264" fmla="*/ 253109 w 488799"/>
                  <a:gd name="connsiteY264" fmla="*/ 488666 h 488823"/>
                  <a:gd name="connsiteX265" fmla="*/ 255868 w 488799"/>
                  <a:gd name="connsiteY265" fmla="*/ 488556 h 488823"/>
                  <a:gd name="connsiteX266" fmla="*/ 255977 w 488799"/>
                  <a:gd name="connsiteY266" fmla="*/ 488556 h 488823"/>
                  <a:gd name="connsiteX267" fmla="*/ 333771 w 488799"/>
                  <a:gd name="connsiteY267" fmla="*/ 471952 h 488823"/>
                  <a:gd name="connsiteX268" fmla="*/ 336713 w 488799"/>
                  <a:gd name="connsiteY268" fmla="*/ 470761 h 488823"/>
                  <a:gd name="connsiteX269" fmla="*/ 339083 w 488799"/>
                  <a:gd name="connsiteY269" fmla="*/ 469776 h 488823"/>
                  <a:gd name="connsiteX270" fmla="*/ 353791 w 488799"/>
                  <a:gd name="connsiteY270" fmla="*/ 463006 h 488823"/>
                  <a:gd name="connsiteX271" fmla="*/ 356562 w 488799"/>
                  <a:gd name="connsiteY271" fmla="*/ 461584 h 488823"/>
                  <a:gd name="connsiteX272" fmla="*/ 359322 w 488799"/>
                  <a:gd name="connsiteY272" fmla="*/ 460137 h 488823"/>
                  <a:gd name="connsiteX273" fmla="*/ 362069 w 488799"/>
                  <a:gd name="connsiteY273" fmla="*/ 458654 h 488823"/>
                  <a:gd name="connsiteX274" fmla="*/ 363624 w 488799"/>
                  <a:gd name="connsiteY274" fmla="*/ 457791 h 488823"/>
                  <a:gd name="connsiteX275" fmla="*/ 365885 w 488799"/>
                  <a:gd name="connsiteY275" fmla="*/ 456503 h 488823"/>
                  <a:gd name="connsiteX276" fmla="*/ 372802 w 488799"/>
                  <a:gd name="connsiteY276" fmla="*/ 452382 h 488823"/>
                  <a:gd name="connsiteX277" fmla="*/ 375427 w 488799"/>
                  <a:gd name="connsiteY277" fmla="*/ 450741 h 488823"/>
                  <a:gd name="connsiteX278" fmla="*/ 380605 w 488799"/>
                  <a:gd name="connsiteY278" fmla="*/ 447350 h 488823"/>
                  <a:gd name="connsiteX279" fmla="*/ 383170 w 488799"/>
                  <a:gd name="connsiteY279" fmla="*/ 445599 h 488823"/>
                  <a:gd name="connsiteX280" fmla="*/ 388227 w 488799"/>
                  <a:gd name="connsiteY280" fmla="*/ 442014 h 488823"/>
                  <a:gd name="connsiteX281" fmla="*/ 390500 w 488799"/>
                  <a:gd name="connsiteY281" fmla="*/ 440324 h 488823"/>
                  <a:gd name="connsiteX282" fmla="*/ 398401 w 488799"/>
                  <a:gd name="connsiteY282" fmla="*/ 434174 h 488823"/>
                  <a:gd name="connsiteX283" fmla="*/ 402789 w 488799"/>
                  <a:gd name="connsiteY283" fmla="*/ 430527 h 488823"/>
                  <a:gd name="connsiteX284" fmla="*/ 405123 w 488799"/>
                  <a:gd name="connsiteY284" fmla="*/ 428509 h 488823"/>
                  <a:gd name="connsiteX285" fmla="*/ 411990 w 488799"/>
                  <a:gd name="connsiteY285" fmla="*/ 422286 h 488823"/>
                  <a:gd name="connsiteX286" fmla="*/ 414227 w 488799"/>
                  <a:gd name="connsiteY286" fmla="*/ 420159 h 488823"/>
                  <a:gd name="connsiteX287" fmla="*/ 416439 w 488799"/>
                  <a:gd name="connsiteY287" fmla="*/ 418007 h 488823"/>
                  <a:gd name="connsiteX288" fmla="*/ 418518 w 488799"/>
                  <a:gd name="connsiteY288" fmla="*/ 415916 h 488823"/>
                  <a:gd name="connsiteX289" fmla="*/ 420572 w 488799"/>
                  <a:gd name="connsiteY289" fmla="*/ 413814 h 488823"/>
                  <a:gd name="connsiteX290" fmla="*/ 424607 w 488799"/>
                  <a:gd name="connsiteY290" fmla="*/ 409511 h 488823"/>
                  <a:gd name="connsiteX291" fmla="*/ 426528 w 488799"/>
                  <a:gd name="connsiteY291" fmla="*/ 407420 h 488823"/>
                  <a:gd name="connsiteX292" fmla="*/ 428558 w 488799"/>
                  <a:gd name="connsiteY292" fmla="*/ 405123 h 488823"/>
                  <a:gd name="connsiteX293" fmla="*/ 430308 w 488799"/>
                  <a:gd name="connsiteY293" fmla="*/ 403093 h 488823"/>
                  <a:gd name="connsiteX294" fmla="*/ 430563 w 488799"/>
                  <a:gd name="connsiteY294" fmla="*/ 402789 h 488823"/>
                  <a:gd name="connsiteX295" fmla="*/ 434247 w 488799"/>
                  <a:gd name="connsiteY295" fmla="*/ 398364 h 488823"/>
                  <a:gd name="connsiteX296" fmla="*/ 436082 w 488799"/>
                  <a:gd name="connsiteY296" fmla="*/ 396067 h 488823"/>
                  <a:gd name="connsiteX297" fmla="*/ 436106 w 488799"/>
                  <a:gd name="connsiteY297" fmla="*/ 396043 h 488823"/>
                  <a:gd name="connsiteX298" fmla="*/ 437905 w 488799"/>
                  <a:gd name="connsiteY298" fmla="*/ 393733 h 488823"/>
                  <a:gd name="connsiteX299" fmla="*/ 439704 w 488799"/>
                  <a:gd name="connsiteY299" fmla="*/ 391387 h 488823"/>
                  <a:gd name="connsiteX300" fmla="*/ 441467 w 488799"/>
                  <a:gd name="connsiteY300" fmla="*/ 389017 h 488823"/>
                  <a:gd name="connsiteX301" fmla="*/ 443205 w 488799"/>
                  <a:gd name="connsiteY301" fmla="*/ 386634 h 488823"/>
                  <a:gd name="connsiteX302" fmla="*/ 444919 w 488799"/>
                  <a:gd name="connsiteY302" fmla="*/ 384228 h 488823"/>
                  <a:gd name="connsiteX303" fmla="*/ 446596 w 488799"/>
                  <a:gd name="connsiteY303" fmla="*/ 381784 h 488823"/>
                  <a:gd name="connsiteX304" fmla="*/ 448262 w 488799"/>
                  <a:gd name="connsiteY304" fmla="*/ 379329 h 488823"/>
                  <a:gd name="connsiteX305" fmla="*/ 454692 w 488799"/>
                  <a:gd name="connsiteY305" fmla="*/ 369082 h 488823"/>
                  <a:gd name="connsiteX306" fmla="*/ 456053 w 488799"/>
                  <a:gd name="connsiteY306" fmla="*/ 366736 h 488823"/>
                  <a:gd name="connsiteX307" fmla="*/ 459080 w 488799"/>
                  <a:gd name="connsiteY307" fmla="*/ 361376 h 488823"/>
                  <a:gd name="connsiteX308" fmla="*/ 460380 w 488799"/>
                  <a:gd name="connsiteY308" fmla="*/ 358945 h 488823"/>
                  <a:gd name="connsiteX309" fmla="*/ 463115 w 488799"/>
                  <a:gd name="connsiteY309" fmla="*/ 353645 h 488823"/>
                  <a:gd name="connsiteX310" fmla="*/ 464391 w 488799"/>
                  <a:gd name="connsiteY310" fmla="*/ 351056 h 488823"/>
                  <a:gd name="connsiteX311" fmla="*/ 464501 w 488799"/>
                  <a:gd name="connsiteY311" fmla="*/ 350813 h 488823"/>
                  <a:gd name="connsiteX312" fmla="*/ 465717 w 488799"/>
                  <a:gd name="connsiteY312" fmla="*/ 348285 h 488823"/>
                  <a:gd name="connsiteX313" fmla="*/ 466969 w 488799"/>
                  <a:gd name="connsiteY313" fmla="*/ 345574 h 488823"/>
                  <a:gd name="connsiteX314" fmla="*/ 468184 w 488799"/>
                  <a:gd name="connsiteY314" fmla="*/ 342863 h 488823"/>
                  <a:gd name="connsiteX315" fmla="*/ 468220 w 488799"/>
                  <a:gd name="connsiteY315" fmla="*/ 342778 h 488823"/>
                  <a:gd name="connsiteX316" fmla="*/ 470530 w 488799"/>
                  <a:gd name="connsiteY316" fmla="*/ 337345 h 488823"/>
                  <a:gd name="connsiteX317" fmla="*/ 472754 w 488799"/>
                  <a:gd name="connsiteY317" fmla="*/ 331766 h 488823"/>
                  <a:gd name="connsiteX318" fmla="*/ 473800 w 488799"/>
                  <a:gd name="connsiteY318" fmla="*/ 328958 h 488823"/>
                  <a:gd name="connsiteX319" fmla="*/ 474821 w 488799"/>
                  <a:gd name="connsiteY319" fmla="*/ 326126 h 488823"/>
                  <a:gd name="connsiteX320" fmla="*/ 475817 w 488799"/>
                  <a:gd name="connsiteY320" fmla="*/ 323281 h 488823"/>
                  <a:gd name="connsiteX321" fmla="*/ 476401 w 488799"/>
                  <a:gd name="connsiteY321" fmla="*/ 321519 h 488823"/>
                  <a:gd name="connsiteX322" fmla="*/ 477215 w 488799"/>
                  <a:gd name="connsiteY322" fmla="*/ 319027 h 488823"/>
                  <a:gd name="connsiteX323" fmla="*/ 478078 w 488799"/>
                  <a:gd name="connsiteY323" fmla="*/ 316231 h 488823"/>
                  <a:gd name="connsiteX324" fmla="*/ 479257 w 488799"/>
                  <a:gd name="connsiteY324" fmla="*/ 312293 h 488823"/>
                  <a:gd name="connsiteX325" fmla="*/ 479549 w 488799"/>
                  <a:gd name="connsiteY325" fmla="*/ 311284 h 488823"/>
                  <a:gd name="connsiteX326" fmla="*/ 480230 w 488799"/>
                  <a:gd name="connsiteY326" fmla="*/ 308816 h 488823"/>
                  <a:gd name="connsiteX327" fmla="*/ 481761 w 488799"/>
                  <a:gd name="connsiteY327" fmla="*/ 302933 h 488823"/>
                  <a:gd name="connsiteX328" fmla="*/ 483135 w 488799"/>
                  <a:gd name="connsiteY328" fmla="*/ 297001 h 488823"/>
                  <a:gd name="connsiteX329" fmla="*/ 483779 w 488799"/>
                  <a:gd name="connsiteY329" fmla="*/ 293999 h 488823"/>
                  <a:gd name="connsiteX330" fmla="*/ 484375 w 488799"/>
                  <a:gd name="connsiteY330" fmla="*/ 290997 h 488823"/>
                  <a:gd name="connsiteX331" fmla="*/ 484934 w 488799"/>
                  <a:gd name="connsiteY331" fmla="*/ 287970 h 488823"/>
                  <a:gd name="connsiteX332" fmla="*/ 485457 w 488799"/>
                  <a:gd name="connsiteY332" fmla="*/ 284944 h 488823"/>
                  <a:gd name="connsiteX333" fmla="*/ 486393 w 488799"/>
                  <a:gd name="connsiteY333" fmla="*/ 278842 h 488823"/>
                  <a:gd name="connsiteX334" fmla="*/ 486806 w 488799"/>
                  <a:gd name="connsiteY334" fmla="*/ 275766 h 488823"/>
                  <a:gd name="connsiteX335" fmla="*/ 487523 w 488799"/>
                  <a:gd name="connsiteY335" fmla="*/ 269604 h 488823"/>
                  <a:gd name="connsiteX336" fmla="*/ 487815 w 488799"/>
                  <a:gd name="connsiteY336" fmla="*/ 266504 h 488823"/>
                  <a:gd name="connsiteX337" fmla="*/ 488277 w 488799"/>
                  <a:gd name="connsiteY337" fmla="*/ 260694 h 488823"/>
                  <a:gd name="connsiteX338" fmla="*/ 488301 w 488799"/>
                  <a:gd name="connsiteY338" fmla="*/ 260147 h 488823"/>
                  <a:gd name="connsiteX339" fmla="*/ 488459 w 488799"/>
                  <a:gd name="connsiteY339" fmla="*/ 257521 h 488823"/>
                  <a:gd name="connsiteX340" fmla="*/ 488532 w 488799"/>
                  <a:gd name="connsiteY340" fmla="*/ 256087 h 488823"/>
                  <a:gd name="connsiteX341" fmla="*/ 488617 w 488799"/>
                  <a:gd name="connsiteY341" fmla="*/ 253972 h 488823"/>
                  <a:gd name="connsiteX342" fmla="*/ 488726 w 488799"/>
                  <a:gd name="connsiteY342" fmla="*/ 250386 h 488823"/>
                  <a:gd name="connsiteX343" fmla="*/ 488763 w 488799"/>
                  <a:gd name="connsiteY343" fmla="*/ 247651 h 488823"/>
                  <a:gd name="connsiteX344" fmla="*/ 488799 w 488799"/>
                  <a:gd name="connsiteY344" fmla="*/ 244479 h 488823"/>
                  <a:gd name="connsiteX345" fmla="*/ 488763 w 488799"/>
                  <a:gd name="connsiteY345" fmla="*/ 241306 h 488823"/>
                  <a:gd name="connsiteX346" fmla="*/ 488726 w 488799"/>
                  <a:gd name="connsiteY346" fmla="*/ 238571 h 488823"/>
                  <a:gd name="connsiteX347" fmla="*/ 379426 w 488799"/>
                  <a:gd name="connsiteY347" fmla="*/ 146823 h 488823"/>
                  <a:gd name="connsiteX348" fmla="*/ 372911 w 488799"/>
                  <a:gd name="connsiteY348" fmla="*/ 149157 h 488823"/>
                  <a:gd name="connsiteX349" fmla="*/ 364962 w 488799"/>
                  <a:gd name="connsiteY349" fmla="*/ 145401 h 488823"/>
                  <a:gd name="connsiteX350" fmla="*/ 333808 w 488799"/>
                  <a:gd name="connsiteY350" fmla="*/ 116545 h 488823"/>
                  <a:gd name="connsiteX351" fmla="*/ 256026 w 488799"/>
                  <a:gd name="connsiteY351" fmla="*/ 88867 h 488823"/>
                  <a:gd name="connsiteX352" fmla="*/ 244418 w 488799"/>
                  <a:gd name="connsiteY352" fmla="*/ 88417 h 488823"/>
                  <a:gd name="connsiteX353" fmla="*/ 234159 w 488799"/>
                  <a:gd name="connsiteY353" fmla="*/ 78146 h 488823"/>
                  <a:gd name="connsiteX354" fmla="*/ 244418 w 488799"/>
                  <a:gd name="connsiteY354" fmla="*/ 67887 h 488823"/>
                  <a:gd name="connsiteX355" fmla="*/ 256026 w 488799"/>
                  <a:gd name="connsiteY355" fmla="*/ 68264 h 488823"/>
                  <a:gd name="connsiteX356" fmla="*/ 333808 w 488799"/>
                  <a:gd name="connsiteY356" fmla="*/ 92137 h 488823"/>
                  <a:gd name="connsiteX357" fmla="*/ 380848 w 488799"/>
                  <a:gd name="connsiteY357" fmla="*/ 132359 h 488823"/>
                  <a:gd name="connsiteX358" fmla="*/ 379426 w 488799"/>
                  <a:gd name="connsiteY358" fmla="*/ 146823 h 488823"/>
                  <a:gd name="connsiteX359" fmla="*/ 410690 w 488799"/>
                  <a:gd name="connsiteY359" fmla="*/ 254689 h 488823"/>
                  <a:gd name="connsiteX360" fmla="*/ 400419 w 488799"/>
                  <a:gd name="connsiteY360" fmla="*/ 244418 h 488823"/>
                  <a:gd name="connsiteX361" fmla="*/ 390172 w 488799"/>
                  <a:gd name="connsiteY361" fmla="*/ 188674 h 488823"/>
                  <a:gd name="connsiteX362" fmla="*/ 396091 w 488799"/>
                  <a:gd name="connsiteY362" fmla="*/ 175400 h 488823"/>
                  <a:gd name="connsiteX363" fmla="*/ 409353 w 488799"/>
                  <a:gd name="connsiteY363" fmla="*/ 181320 h 488823"/>
                  <a:gd name="connsiteX364" fmla="*/ 420973 w 488799"/>
                  <a:gd name="connsiteY364" fmla="*/ 244418 h 488823"/>
                  <a:gd name="connsiteX365" fmla="*/ 410702 w 488799"/>
                  <a:gd name="connsiteY365" fmla="*/ 254689 h 48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Lst>
                <a:rect l="l" t="t" r="r" b="b"/>
                <a:pathLst>
                  <a:path w="488799" h="488823">
                    <a:moveTo>
                      <a:pt x="488751" y="238510"/>
                    </a:moveTo>
                    <a:cubicBezTo>
                      <a:pt x="488714" y="237307"/>
                      <a:pt x="488678" y="236116"/>
                      <a:pt x="488641" y="234925"/>
                    </a:cubicBezTo>
                    <a:cubicBezTo>
                      <a:pt x="488629" y="234207"/>
                      <a:pt x="488593" y="233502"/>
                      <a:pt x="488556" y="232810"/>
                    </a:cubicBezTo>
                    <a:cubicBezTo>
                      <a:pt x="488532" y="232336"/>
                      <a:pt x="488508" y="231849"/>
                      <a:pt x="488483" y="231375"/>
                    </a:cubicBezTo>
                    <a:cubicBezTo>
                      <a:pt x="488447" y="230500"/>
                      <a:pt x="488398" y="229625"/>
                      <a:pt x="488325" y="228750"/>
                    </a:cubicBezTo>
                    <a:cubicBezTo>
                      <a:pt x="488313" y="228567"/>
                      <a:pt x="488301" y="228397"/>
                      <a:pt x="488301" y="228203"/>
                    </a:cubicBezTo>
                    <a:cubicBezTo>
                      <a:pt x="488167" y="226258"/>
                      <a:pt x="488034" y="224325"/>
                      <a:pt x="487839" y="222393"/>
                    </a:cubicBezTo>
                    <a:cubicBezTo>
                      <a:pt x="487754" y="221359"/>
                      <a:pt x="487644" y="220326"/>
                      <a:pt x="487547" y="219293"/>
                    </a:cubicBezTo>
                    <a:cubicBezTo>
                      <a:pt x="487341" y="217227"/>
                      <a:pt x="487110" y="215172"/>
                      <a:pt x="486830" y="213130"/>
                    </a:cubicBezTo>
                    <a:cubicBezTo>
                      <a:pt x="486709" y="212097"/>
                      <a:pt x="486563" y="211076"/>
                      <a:pt x="486417" y="210055"/>
                    </a:cubicBezTo>
                    <a:cubicBezTo>
                      <a:pt x="486271" y="209034"/>
                      <a:pt x="486125" y="208013"/>
                      <a:pt x="485967" y="207004"/>
                    </a:cubicBezTo>
                    <a:cubicBezTo>
                      <a:pt x="485809" y="206032"/>
                      <a:pt x="485663" y="205059"/>
                      <a:pt x="485505" y="204099"/>
                    </a:cubicBezTo>
                    <a:cubicBezTo>
                      <a:pt x="485481" y="204014"/>
                      <a:pt x="485469" y="203929"/>
                      <a:pt x="485469" y="203844"/>
                    </a:cubicBezTo>
                    <a:cubicBezTo>
                      <a:pt x="485286" y="202871"/>
                      <a:pt x="485128" y="201899"/>
                      <a:pt x="484958" y="200939"/>
                    </a:cubicBezTo>
                    <a:cubicBezTo>
                      <a:pt x="484764" y="199930"/>
                      <a:pt x="484594" y="198921"/>
                      <a:pt x="484399" y="197912"/>
                    </a:cubicBezTo>
                    <a:cubicBezTo>
                      <a:pt x="484192" y="196915"/>
                      <a:pt x="483998" y="195906"/>
                      <a:pt x="483804" y="194910"/>
                    </a:cubicBezTo>
                    <a:cubicBezTo>
                      <a:pt x="483597" y="193901"/>
                      <a:pt x="483378" y="192904"/>
                      <a:pt x="483159" y="191907"/>
                    </a:cubicBezTo>
                    <a:cubicBezTo>
                      <a:pt x="482722" y="189914"/>
                      <a:pt x="482260" y="187932"/>
                      <a:pt x="481786" y="185975"/>
                    </a:cubicBezTo>
                    <a:cubicBezTo>
                      <a:pt x="481312" y="183994"/>
                      <a:pt x="480801" y="182049"/>
                      <a:pt x="480254" y="180092"/>
                    </a:cubicBezTo>
                    <a:cubicBezTo>
                      <a:pt x="480035" y="179266"/>
                      <a:pt x="479804" y="178451"/>
                      <a:pt x="479574" y="177625"/>
                    </a:cubicBezTo>
                    <a:cubicBezTo>
                      <a:pt x="479476" y="177284"/>
                      <a:pt x="479379" y="176944"/>
                      <a:pt x="479282" y="176616"/>
                    </a:cubicBezTo>
                    <a:cubicBezTo>
                      <a:pt x="478917" y="175291"/>
                      <a:pt x="478528" y="173990"/>
                      <a:pt x="478103" y="172678"/>
                    </a:cubicBezTo>
                    <a:cubicBezTo>
                      <a:pt x="477823" y="171754"/>
                      <a:pt x="477544" y="170854"/>
                      <a:pt x="477252" y="169930"/>
                    </a:cubicBezTo>
                    <a:cubicBezTo>
                      <a:pt x="476948" y="168946"/>
                      <a:pt x="476644" y="167973"/>
                      <a:pt x="476292" y="167013"/>
                    </a:cubicBezTo>
                    <a:cubicBezTo>
                      <a:pt x="475817" y="165591"/>
                      <a:pt x="475331" y="164193"/>
                      <a:pt x="474833" y="162783"/>
                    </a:cubicBezTo>
                    <a:cubicBezTo>
                      <a:pt x="474505" y="161835"/>
                      <a:pt x="474164" y="160899"/>
                      <a:pt x="473812" y="159951"/>
                    </a:cubicBezTo>
                    <a:cubicBezTo>
                      <a:pt x="473472" y="159015"/>
                      <a:pt x="473119" y="158079"/>
                      <a:pt x="472766" y="157143"/>
                    </a:cubicBezTo>
                    <a:cubicBezTo>
                      <a:pt x="472414" y="156207"/>
                      <a:pt x="472037" y="155283"/>
                      <a:pt x="471673" y="154347"/>
                    </a:cubicBezTo>
                    <a:cubicBezTo>
                      <a:pt x="471320" y="153411"/>
                      <a:pt x="470931" y="152500"/>
                      <a:pt x="470554" y="151564"/>
                    </a:cubicBezTo>
                    <a:cubicBezTo>
                      <a:pt x="469801" y="149741"/>
                      <a:pt x="469035" y="147929"/>
                      <a:pt x="468245" y="146130"/>
                    </a:cubicBezTo>
                    <a:cubicBezTo>
                      <a:pt x="468233" y="146106"/>
                      <a:pt x="468220" y="146070"/>
                      <a:pt x="468208" y="146045"/>
                    </a:cubicBezTo>
                    <a:cubicBezTo>
                      <a:pt x="467807" y="145134"/>
                      <a:pt x="467406" y="144246"/>
                      <a:pt x="466993" y="143335"/>
                    </a:cubicBezTo>
                    <a:cubicBezTo>
                      <a:pt x="466579" y="142423"/>
                      <a:pt x="466166" y="141536"/>
                      <a:pt x="465741" y="140624"/>
                    </a:cubicBezTo>
                    <a:cubicBezTo>
                      <a:pt x="465449" y="140004"/>
                      <a:pt x="465145" y="139360"/>
                      <a:pt x="464829" y="138740"/>
                    </a:cubicBezTo>
                    <a:cubicBezTo>
                      <a:pt x="464173" y="137391"/>
                      <a:pt x="463516" y="136042"/>
                      <a:pt x="462848" y="134705"/>
                    </a:cubicBezTo>
                    <a:cubicBezTo>
                      <a:pt x="462046" y="133112"/>
                      <a:pt x="461231" y="131544"/>
                      <a:pt x="460392" y="129964"/>
                    </a:cubicBezTo>
                    <a:cubicBezTo>
                      <a:pt x="459955" y="129162"/>
                      <a:pt x="459529" y="128347"/>
                      <a:pt x="459092" y="127533"/>
                    </a:cubicBezTo>
                    <a:cubicBezTo>
                      <a:pt x="458107" y="125734"/>
                      <a:pt x="457098" y="123947"/>
                      <a:pt x="456065" y="122172"/>
                    </a:cubicBezTo>
                    <a:cubicBezTo>
                      <a:pt x="455628" y="121407"/>
                      <a:pt x="455190" y="120641"/>
                      <a:pt x="454728" y="119875"/>
                    </a:cubicBezTo>
                    <a:cubicBezTo>
                      <a:pt x="453306" y="117493"/>
                      <a:pt x="451847" y="115122"/>
                      <a:pt x="450352" y="112776"/>
                    </a:cubicBezTo>
                    <a:cubicBezTo>
                      <a:pt x="449659" y="111707"/>
                      <a:pt x="448979" y="110637"/>
                      <a:pt x="448274" y="109567"/>
                    </a:cubicBezTo>
                    <a:cubicBezTo>
                      <a:pt x="443363" y="102177"/>
                      <a:pt x="438063" y="95054"/>
                      <a:pt x="432399" y="88247"/>
                    </a:cubicBezTo>
                    <a:cubicBezTo>
                      <a:pt x="431961" y="87724"/>
                      <a:pt x="431536" y="87202"/>
                      <a:pt x="431086" y="86679"/>
                    </a:cubicBezTo>
                    <a:cubicBezTo>
                      <a:pt x="430478" y="85938"/>
                      <a:pt x="429846" y="85208"/>
                      <a:pt x="429214" y="84479"/>
                    </a:cubicBezTo>
                    <a:cubicBezTo>
                      <a:pt x="429008" y="84236"/>
                      <a:pt x="428789" y="83993"/>
                      <a:pt x="428594" y="83750"/>
                    </a:cubicBezTo>
                    <a:cubicBezTo>
                      <a:pt x="427768" y="82802"/>
                      <a:pt x="426929" y="81878"/>
                      <a:pt x="426102" y="80942"/>
                    </a:cubicBezTo>
                    <a:cubicBezTo>
                      <a:pt x="424303" y="78948"/>
                      <a:pt x="422480" y="76979"/>
                      <a:pt x="420608" y="75059"/>
                    </a:cubicBezTo>
                    <a:cubicBezTo>
                      <a:pt x="419928" y="74354"/>
                      <a:pt x="419247" y="73637"/>
                      <a:pt x="418554" y="72956"/>
                    </a:cubicBezTo>
                    <a:cubicBezTo>
                      <a:pt x="417861" y="72251"/>
                      <a:pt x="417181" y="71546"/>
                      <a:pt x="416476" y="70865"/>
                    </a:cubicBezTo>
                    <a:cubicBezTo>
                      <a:pt x="415746" y="70136"/>
                      <a:pt x="415005" y="69419"/>
                      <a:pt x="414263" y="68714"/>
                    </a:cubicBezTo>
                    <a:cubicBezTo>
                      <a:pt x="413534" y="67997"/>
                      <a:pt x="412792" y="67291"/>
                      <a:pt x="412051" y="66611"/>
                    </a:cubicBezTo>
                    <a:cubicBezTo>
                      <a:pt x="410544" y="65176"/>
                      <a:pt x="409024" y="63779"/>
                      <a:pt x="407468" y="62393"/>
                    </a:cubicBezTo>
                    <a:cubicBezTo>
                      <a:pt x="406703" y="61700"/>
                      <a:pt x="405937" y="61032"/>
                      <a:pt x="405159" y="60351"/>
                    </a:cubicBezTo>
                    <a:cubicBezTo>
                      <a:pt x="404381" y="59670"/>
                      <a:pt x="403603" y="59002"/>
                      <a:pt x="402825" y="58333"/>
                    </a:cubicBezTo>
                    <a:cubicBezTo>
                      <a:pt x="401573" y="57263"/>
                      <a:pt x="400309" y="56206"/>
                      <a:pt x="399021" y="55173"/>
                    </a:cubicBezTo>
                    <a:cubicBezTo>
                      <a:pt x="398328" y="54589"/>
                      <a:pt x="397635" y="54018"/>
                      <a:pt x="396930" y="53471"/>
                    </a:cubicBezTo>
                    <a:cubicBezTo>
                      <a:pt x="387230" y="45692"/>
                      <a:pt x="376898" y="38666"/>
                      <a:pt x="366068" y="32430"/>
                    </a:cubicBezTo>
                    <a:cubicBezTo>
                      <a:pt x="364925" y="31762"/>
                      <a:pt x="363758" y="31105"/>
                      <a:pt x="362591" y="30461"/>
                    </a:cubicBezTo>
                    <a:cubicBezTo>
                      <a:pt x="361509" y="29865"/>
                      <a:pt x="360440" y="29270"/>
                      <a:pt x="359346" y="28699"/>
                    </a:cubicBezTo>
                    <a:cubicBezTo>
                      <a:pt x="358434" y="28212"/>
                      <a:pt x="357510" y="27726"/>
                      <a:pt x="356587" y="27252"/>
                    </a:cubicBezTo>
                    <a:cubicBezTo>
                      <a:pt x="355663" y="26766"/>
                      <a:pt x="354739" y="26292"/>
                      <a:pt x="353815" y="25830"/>
                    </a:cubicBezTo>
                    <a:cubicBezTo>
                      <a:pt x="351214" y="24517"/>
                      <a:pt x="348576" y="23265"/>
                      <a:pt x="345926" y="22050"/>
                    </a:cubicBezTo>
                    <a:cubicBezTo>
                      <a:pt x="344796" y="21527"/>
                      <a:pt x="343641" y="21016"/>
                      <a:pt x="342499" y="20506"/>
                    </a:cubicBezTo>
                    <a:cubicBezTo>
                      <a:pt x="341380" y="20020"/>
                      <a:pt x="340250" y="19533"/>
                      <a:pt x="339119" y="19059"/>
                    </a:cubicBezTo>
                    <a:cubicBezTo>
                      <a:pt x="338342" y="18731"/>
                      <a:pt x="337551" y="18391"/>
                      <a:pt x="336749" y="18075"/>
                    </a:cubicBezTo>
                    <a:cubicBezTo>
                      <a:pt x="335777" y="17662"/>
                      <a:pt x="334792" y="17273"/>
                      <a:pt x="333808" y="16884"/>
                    </a:cubicBezTo>
                    <a:cubicBezTo>
                      <a:pt x="309534" y="7342"/>
                      <a:pt x="283363" y="1556"/>
                      <a:pt x="256014" y="280"/>
                    </a:cubicBezTo>
                    <a:cubicBezTo>
                      <a:pt x="252173" y="97"/>
                      <a:pt x="248308" y="0"/>
                      <a:pt x="244430" y="0"/>
                    </a:cubicBezTo>
                    <a:cubicBezTo>
                      <a:pt x="242971" y="0"/>
                      <a:pt x="241537" y="12"/>
                      <a:pt x="240091" y="36"/>
                    </a:cubicBezTo>
                    <a:cubicBezTo>
                      <a:pt x="239033" y="49"/>
                      <a:pt x="237963" y="73"/>
                      <a:pt x="236894" y="109"/>
                    </a:cubicBezTo>
                    <a:cubicBezTo>
                      <a:pt x="233065" y="219"/>
                      <a:pt x="229260" y="425"/>
                      <a:pt x="225480" y="717"/>
                    </a:cubicBezTo>
                    <a:cubicBezTo>
                      <a:pt x="224690" y="766"/>
                      <a:pt x="223900" y="851"/>
                      <a:pt x="223110" y="912"/>
                    </a:cubicBezTo>
                    <a:cubicBezTo>
                      <a:pt x="222149" y="985"/>
                      <a:pt x="221213" y="1082"/>
                      <a:pt x="220253" y="1179"/>
                    </a:cubicBezTo>
                    <a:cubicBezTo>
                      <a:pt x="218940" y="1301"/>
                      <a:pt x="217616" y="1446"/>
                      <a:pt x="216291" y="1604"/>
                    </a:cubicBezTo>
                    <a:cubicBezTo>
                      <a:pt x="216242" y="1604"/>
                      <a:pt x="216206" y="1604"/>
                      <a:pt x="216157" y="1617"/>
                    </a:cubicBezTo>
                    <a:cubicBezTo>
                      <a:pt x="214881" y="1762"/>
                      <a:pt x="213604" y="1921"/>
                      <a:pt x="212328" y="2091"/>
                    </a:cubicBezTo>
                    <a:cubicBezTo>
                      <a:pt x="211076" y="2249"/>
                      <a:pt x="209824" y="2419"/>
                      <a:pt x="208584" y="2613"/>
                    </a:cubicBezTo>
                    <a:cubicBezTo>
                      <a:pt x="208487" y="2626"/>
                      <a:pt x="208365" y="2638"/>
                      <a:pt x="208268" y="2662"/>
                    </a:cubicBezTo>
                    <a:cubicBezTo>
                      <a:pt x="207174" y="2820"/>
                      <a:pt x="206080" y="2978"/>
                      <a:pt x="204998" y="3160"/>
                    </a:cubicBezTo>
                    <a:cubicBezTo>
                      <a:pt x="204634" y="3209"/>
                      <a:pt x="204257" y="3270"/>
                      <a:pt x="203880" y="3343"/>
                    </a:cubicBezTo>
                    <a:cubicBezTo>
                      <a:pt x="202786" y="3537"/>
                      <a:pt x="201692" y="3707"/>
                      <a:pt x="200610" y="3914"/>
                    </a:cubicBezTo>
                    <a:cubicBezTo>
                      <a:pt x="199674" y="4084"/>
                      <a:pt x="198751" y="4254"/>
                      <a:pt x="197815" y="4437"/>
                    </a:cubicBezTo>
                    <a:cubicBezTo>
                      <a:pt x="196866" y="4619"/>
                      <a:pt x="195943" y="4801"/>
                      <a:pt x="195007" y="4996"/>
                    </a:cubicBezTo>
                    <a:cubicBezTo>
                      <a:pt x="194873" y="5020"/>
                      <a:pt x="194751" y="5044"/>
                      <a:pt x="194618" y="5069"/>
                    </a:cubicBezTo>
                    <a:cubicBezTo>
                      <a:pt x="193694" y="5263"/>
                      <a:pt x="192782" y="5446"/>
                      <a:pt x="191859" y="5652"/>
                    </a:cubicBezTo>
                    <a:cubicBezTo>
                      <a:pt x="191786" y="5664"/>
                      <a:pt x="191700" y="5676"/>
                      <a:pt x="191628" y="5701"/>
                    </a:cubicBezTo>
                    <a:cubicBezTo>
                      <a:pt x="190692" y="5907"/>
                      <a:pt x="189768" y="6126"/>
                      <a:pt x="188832" y="6333"/>
                    </a:cubicBezTo>
                    <a:cubicBezTo>
                      <a:pt x="188516" y="6394"/>
                      <a:pt x="188200" y="6479"/>
                      <a:pt x="187884" y="6552"/>
                    </a:cubicBezTo>
                    <a:cubicBezTo>
                      <a:pt x="187009" y="6758"/>
                      <a:pt x="186133" y="6977"/>
                      <a:pt x="185270" y="7184"/>
                    </a:cubicBezTo>
                    <a:cubicBezTo>
                      <a:pt x="184043" y="7488"/>
                      <a:pt x="182815" y="7791"/>
                      <a:pt x="181599" y="8132"/>
                    </a:cubicBezTo>
                    <a:cubicBezTo>
                      <a:pt x="181539" y="8144"/>
                      <a:pt x="181490" y="8156"/>
                      <a:pt x="181429" y="8180"/>
                    </a:cubicBezTo>
                    <a:cubicBezTo>
                      <a:pt x="180396" y="8448"/>
                      <a:pt x="179375" y="8715"/>
                      <a:pt x="178354" y="9007"/>
                    </a:cubicBezTo>
                    <a:cubicBezTo>
                      <a:pt x="176616" y="9493"/>
                      <a:pt x="174878" y="10004"/>
                      <a:pt x="173164" y="10526"/>
                    </a:cubicBezTo>
                    <a:cubicBezTo>
                      <a:pt x="172228" y="10806"/>
                      <a:pt x="171292" y="11098"/>
                      <a:pt x="170368" y="11389"/>
                    </a:cubicBezTo>
                    <a:cubicBezTo>
                      <a:pt x="169651" y="11620"/>
                      <a:pt x="168934" y="11851"/>
                      <a:pt x="168229" y="12094"/>
                    </a:cubicBezTo>
                    <a:cubicBezTo>
                      <a:pt x="167366" y="12362"/>
                      <a:pt x="166503" y="12654"/>
                      <a:pt x="165652" y="12945"/>
                    </a:cubicBezTo>
                    <a:cubicBezTo>
                      <a:pt x="164777" y="13237"/>
                      <a:pt x="163877" y="13541"/>
                      <a:pt x="163002" y="13869"/>
                    </a:cubicBezTo>
                    <a:cubicBezTo>
                      <a:pt x="160571" y="14720"/>
                      <a:pt x="158176" y="15619"/>
                      <a:pt x="155794" y="16555"/>
                    </a:cubicBezTo>
                    <a:cubicBezTo>
                      <a:pt x="154809" y="16932"/>
                      <a:pt x="153837" y="17321"/>
                      <a:pt x="152889" y="17710"/>
                    </a:cubicBezTo>
                    <a:cubicBezTo>
                      <a:pt x="151467" y="18281"/>
                      <a:pt x="150069" y="18865"/>
                      <a:pt x="148671" y="19461"/>
                    </a:cubicBezTo>
                    <a:cubicBezTo>
                      <a:pt x="147492" y="19959"/>
                      <a:pt x="146325" y="20469"/>
                      <a:pt x="145158" y="20992"/>
                    </a:cubicBezTo>
                    <a:cubicBezTo>
                      <a:pt x="144113" y="21454"/>
                      <a:pt x="143079" y="21928"/>
                      <a:pt x="142046" y="22414"/>
                    </a:cubicBezTo>
                    <a:cubicBezTo>
                      <a:pt x="140515" y="23119"/>
                      <a:pt x="139007" y="23836"/>
                      <a:pt x="137500" y="24566"/>
                    </a:cubicBezTo>
                    <a:cubicBezTo>
                      <a:pt x="135446" y="25563"/>
                      <a:pt x="133416" y="26596"/>
                      <a:pt x="131398" y="27641"/>
                    </a:cubicBezTo>
                    <a:cubicBezTo>
                      <a:pt x="130268" y="28225"/>
                      <a:pt x="129150" y="28832"/>
                      <a:pt x="128031" y="29440"/>
                    </a:cubicBezTo>
                    <a:cubicBezTo>
                      <a:pt x="126925" y="30036"/>
                      <a:pt x="125807" y="30656"/>
                      <a:pt x="124701" y="31275"/>
                    </a:cubicBezTo>
                    <a:cubicBezTo>
                      <a:pt x="122841" y="32321"/>
                      <a:pt x="120993" y="33390"/>
                      <a:pt x="119170" y="34484"/>
                    </a:cubicBezTo>
                    <a:cubicBezTo>
                      <a:pt x="118575" y="34837"/>
                      <a:pt x="117967" y="35214"/>
                      <a:pt x="117371" y="35578"/>
                    </a:cubicBezTo>
                    <a:cubicBezTo>
                      <a:pt x="116545" y="36077"/>
                      <a:pt x="115706" y="36587"/>
                      <a:pt x="114891" y="37110"/>
                    </a:cubicBezTo>
                    <a:cubicBezTo>
                      <a:pt x="113883" y="37730"/>
                      <a:pt x="112874" y="38374"/>
                      <a:pt x="111877" y="39006"/>
                    </a:cubicBezTo>
                    <a:cubicBezTo>
                      <a:pt x="106346" y="42592"/>
                      <a:pt x="100974" y="46384"/>
                      <a:pt x="95771" y="50384"/>
                    </a:cubicBezTo>
                    <a:cubicBezTo>
                      <a:pt x="95066" y="50918"/>
                      <a:pt x="94386" y="51453"/>
                      <a:pt x="93693" y="51988"/>
                    </a:cubicBezTo>
                    <a:cubicBezTo>
                      <a:pt x="92526" y="52900"/>
                      <a:pt x="91395" y="53811"/>
                      <a:pt x="90265" y="54747"/>
                    </a:cubicBezTo>
                    <a:cubicBezTo>
                      <a:pt x="89280" y="55537"/>
                      <a:pt x="88308" y="56340"/>
                      <a:pt x="87360" y="57154"/>
                    </a:cubicBezTo>
                    <a:cubicBezTo>
                      <a:pt x="85330" y="58856"/>
                      <a:pt x="83336" y="60570"/>
                      <a:pt x="81379" y="62344"/>
                    </a:cubicBezTo>
                    <a:cubicBezTo>
                      <a:pt x="80529" y="63098"/>
                      <a:pt x="79678" y="63864"/>
                      <a:pt x="78851" y="64642"/>
                    </a:cubicBezTo>
                    <a:cubicBezTo>
                      <a:pt x="78207" y="65213"/>
                      <a:pt x="77575" y="65821"/>
                      <a:pt x="76931" y="66428"/>
                    </a:cubicBezTo>
                    <a:cubicBezTo>
                      <a:pt x="76432" y="66890"/>
                      <a:pt x="75934" y="67364"/>
                      <a:pt x="75436" y="67838"/>
                    </a:cubicBezTo>
                    <a:cubicBezTo>
                      <a:pt x="73831" y="69382"/>
                      <a:pt x="72239" y="70938"/>
                      <a:pt x="70671" y="72518"/>
                    </a:cubicBezTo>
                    <a:cubicBezTo>
                      <a:pt x="69795" y="73418"/>
                      <a:pt x="68908" y="74317"/>
                      <a:pt x="68045" y="75229"/>
                    </a:cubicBezTo>
                    <a:cubicBezTo>
                      <a:pt x="67182" y="76141"/>
                      <a:pt x="66307" y="77052"/>
                      <a:pt x="65456" y="77976"/>
                    </a:cubicBezTo>
                    <a:cubicBezTo>
                      <a:pt x="64593" y="78912"/>
                      <a:pt x="63742" y="79824"/>
                      <a:pt x="62891" y="80772"/>
                    </a:cubicBezTo>
                    <a:cubicBezTo>
                      <a:pt x="60363" y="83580"/>
                      <a:pt x="57895" y="86436"/>
                      <a:pt x="55501" y="89365"/>
                    </a:cubicBezTo>
                    <a:cubicBezTo>
                      <a:pt x="54699" y="90338"/>
                      <a:pt x="53909" y="91322"/>
                      <a:pt x="53118" y="92319"/>
                    </a:cubicBezTo>
                    <a:cubicBezTo>
                      <a:pt x="52122" y="93571"/>
                      <a:pt x="51125" y="94847"/>
                      <a:pt x="50153" y="96124"/>
                    </a:cubicBezTo>
                    <a:cubicBezTo>
                      <a:pt x="49593" y="96853"/>
                      <a:pt x="49046" y="97582"/>
                      <a:pt x="48487" y="98324"/>
                    </a:cubicBezTo>
                    <a:cubicBezTo>
                      <a:pt x="47734" y="99333"/>
                      <a:pt x="46980" y="100354"/>
                      <a:pt x="46239" y="101375"/>
                    </a:cubicBezTo>
                    <a:cubicBezTo>
                      <a:pt x="45497" y="102396"/>
                      <a:pt x="44768" y="103429"/>
                      <a:pt x="44038" y="104462"/>
                    </a:cubicBezTo>
                    <a:cubicBezTo>
                      <a:pt x="43346" y="105447"/>
                      <a:pt x="42665" y="106444"/>
                      <a:pt x="41984" y="107440"/>
                    </a:cubicBezTo>
                    <a:cubicBezTo>
                      <a:pt x="40538" y="109580"/>
                      <a:pt x="39116" y="111743"/>
                      <a:pt x="37730" y="113931"/>
                    </a:cubicBezTo>
                    <a:cubicBezTo>
                      <a:pt x="37134" y="114867"/>
                      <a:pt x="36539" y="115803"/>
                      <a:pt x="35967" y="116763"/>
                    </a:cubicBezTo>
                    <a:cubicBezTo>
                      <a:pt x="35469" y="117566"/>
                      <a:pt x="34983" y="118368"/>
                      <a:pt x="34497" y="119194"/>
                    </a:cubicBezTo>
                    <a:cubicBezTo>
                      <a:pt x="33828" y="120288"/>
                      <a:pt x="33196" y="121395"/>
                      <a:pt x="32552" y="122501"/>
                    </a:cubicBezTo>
                    <a:cubicBezTo>
                      <a:pt x="31956" y="123534"/>
                      <a:pt x="31361" y="124567"/>
                      <a:pt x="30789" y="125600"/>
                    </a:cubicBezTo>
                    <a:cubicBezTo>
                      <a:pt x="30279" y="126512"/>
                      <a:pt x="29780" y="127411"/>
                      <a:pt x="29294" y="128335"/>
                    </a:cubicBezTo>
                    <a:cubicBezTo>
                      <a:pt x="28759" y="129320"/>
                      <a:pt x="28237" y="130304"/>
                      <a:pt x="27726" y="131289"/>
                    </a:cubicBezTo>
                    <a:cubicBezTo>
                      <a:pt x="27203" y="132286"/>
                      <a:pt x="26693" y="133282"/>
                      <a:pt x="26195" y="134279"/>
                    </a:cubicBezTo>
                    <a:cubicBezTo>
                      <a:pt x="25684" y="135276"/>
                      <a:pt x="25186" y="136273"/>
                      <a:pt x="24699" y="137281"/>
                    </a:cubicBezTo>
                    <a:cubicBezTo>
                      <a:pt x="23229" y="140296"/>
                      <a:pt x="21819" y="143347"/>
                      <a:pt x="20457" y="146422"/>
                    </a:cubicBezTo>
                    <a:cubicBezTo>
                      <a:pt x="19801" y="147929"/>
                      <a:pt x="19157" y="149449"/>
                      <a:pt x="18512" y="150968"/>
                    </a:cubicBezTo>
                    <a:cubicBezTo>
                      <a:pt x="18427" y="151199"/>
                      <a:pt x="18318" y="151430"/>
                      <a:pt x="18233" y="151661"/>
                    </a:cubicBezTo>
                    <a:cubicBezTo>
                      <a:pt x="17042" y="154578"/>
                      <a:pt x="15899" y="157532"/>
                      <a:pt x="14805" y="160510"/>
                    </a:cubicBezTo>
                    <a:cubicBezTo>
                      <a:pt x="14234" y="162090"/>
                      <a:pt x="13662" y="163683"/>
                      <a:pt x="13115" y="165299"/>
                    </a:cubicBezTo>
                    <a:cubicBezTo>
                      <a:pt x="12568" y="166904"/>
                      <a:pt x="12034" y="168520"/>
                      <a:pt x="11511" y="170137"/>
                    </a:cubicBezTo>
                    <a:cubicBezTo>
                      <a:pt x="11000" y="171754"/>
                      <a:pt x="10502" y="173383"/>
                      <a:pt x="10016" y="175011"/>
                    </a:cubicBezTo>
                    <a:cubicBezTo>
                      <a:pt x="9773" y="175826"/>
                      <a:pt x="9530" y="176640"/>
                      <a:pt x="9299" y="177467"/>
                    </a:cubicBezTo>
                    <a:cubicBezTo>
                      <a:pt x="9068" y="178293"/>
                      <a:pt x="8837" y="179108"/>
                      <a:pt x="8618" y="179946"/>
                    </a:cubicBezTo>
                    <a:cubicBezTo>
                      <a:pt x="8387" y="180761"/>
                      <a:pt x="8168" y="181587"/>
                      <a:pt x="7950" y="182426"/>
                    </a:cubicBezTo>
                    <a:cubicBezTo>
                      <a:pt x="7719" y="183253"/>
                      <a:pt x="7512" y="184067"/>
                      <a:pt x="7317" y="184906"/>
                    </a:cubicBezTo>
                    <a:cubicBezTo>
                      <a:pt x="7099" y="185744"/>
                      <a:pt x="6892" y="186583"/>
                      <a:pt x="6710" y="187410"/>
                    </a:cubicBezTo>
                    <a:cubicBezTo>
                      <a:pt x="5920" y="190740"/>
                      <a:pt x="5190" y="194107"/>
                      <a:pt x="4522" y="197499"/>
                    </a:cubicBezTo>
                    <a:cubicBezTo>
                      <a:pt x="4206" y="199200"/>
                      <a:pt x="3878" y="200890"/>
                      <a:pt x="3586" y="202592"/>
                    </a:cubicBezTo>
                    <a:cubicBezTo>
                      <a:pt x="3294" y="204306"/>
                      <a:pt x="3014" y="206007"/>
                      <a:pt x="2759" y="207733"/>
                    </a:cubicBezTo>
                    <a:cubicBezTo>
                      <a:pt x="2504" y="209447"/>
                      <a:pt x="2261" y="211161"/>
                      <a:pt x="2030" y="212899"/>
                    </a:cubicBezTo>
                    <a:cubicBezTo>
                      <a:pt x="1920" y="213750"/>
                      <a:pt x="1811" y="214625"/>
                      <a:pt x="1714" y="215488"/>
                    </a:cubicBezTo>
                    <a:cubicBezTo>
                      <a:pt x="1519" y="217117"/>
                      <a:pt x="1349" y="218758"/>
                      <a:pt x="1191" y="220399"/>
                    </a:cubicBezTo>
                    <a:cubicBezTo>
                      <a:pt x="1058" y="221651"/>
                      <a:pt x="948" y="222903"/>
                      <a:pt x="851" y="224167"/>
                    </a:cubicBezTo>
                    <a:cubicBezTo>
                      <a:pt x="693" y="226112"/>
                      <a:pt x="559" y="228045"/>
                      <a:pt x="438" y="230002"/>
                    </a:cubicBezTo>
                    <a:cubicBezTo>
                      <a:pt x="377" y="230974"/>
                      <a:pt x="328" y="231959"/>
                      <a:pt x="280" y="232943"/>
                    </a:cubicBezTo>
                    <a:cubicBezTo>
                      <a:pt x="194" y="234900"/>
                      <a:pt x="109" y="236857"/>
                      <a:pt x="73" y="238826"/>
                    </a:cubicBezTo>
                    <a:cubicBezTo>
                      <a:pt x="49" y="239762"/>
                      <a:pt x="36" y="240686"/>
                      <a:pt x="12" y="241622"/>
                    </a:cubicBezTo>
                    <a:cubicBezTo>
                      <a:pt x="12" y="242558"/>
                      <a:pt x="0" y="243494"/>
                      <a:pt x="0" y="244430"/>
                    </a:cubicBezTo>
                    <a:cubicBezTo>
                      <a:pt x="0" y="246010"/>
                      <a:pt x="12" y="247578"/>
                      <a:pt x="49" y="249158"/>
                    </a:cubicBezTo>
                    <a:cubicBezTo>
                      <a:pt x="73" y="250568"/>
                      <a:pt x="109" y="251954"/>
                      <a:pt x="158" y="253340"/>
                    </a:cubicBezTo>
                    <a:cubicBezTo>
                      <a:pt x="170" y="253887"/>
                      <a:pt x="194" y="254434"/>
                      <a:pt x="219" y="254969"/>
                    </a:cubicBezTo>
                    <a:cubicBezTo>
                      <a:pt x="231" y="255540"/>
                      <a:pt x="255" y="256136"/>
                      <a:pt x="292" y="256707"/>
                    </a:cubicBezTo>
                    <a:cubicBezTo>
                      <a:pt x="328" y="257631"/>
                      <a:pt x="377" y="258542"/>
                      <a:pt x="450" y="259466"/>
                    </a:cubicBezTo>
                    <a:cubicBezTo>
                      <a:pt x="450" y="259539"/>
                      <a:pt x="450" y="259636"/>
                      <a:pt x="462" y="259721"/>
                    </a:cubicBezTo>
                    <a:cubicBezTo>
                      <a:pt x="632" y="262444"/>
                      <a:pt x="851" y="265155"/>
                      <a:pt x="1094" y="267853"/>
                    </a:cubicBezTo>
                    <a:cubicBezTo>
                      <a:pt x="1203" y="269044"/>
                      <a:pt x="1325" y="270224"/>
                      <a:pt x="1459" y="271415"/>
                    </a:cubicBezTo>
                    <a:cubicBezTo>
                      <a:pt x="1544" y="272278"/>
                      <a:pt x="1641" y="273141"/>
                      <a:pt x="1750" y="273992"/>
                    </a:cubicBezTo>
                    <a:cubicBezTo>
                      <a:pt x="1884" y="275146"/>
                      <a:pt x="2030" y="276289"/>
                      <a:pt x="2188" y="277444"/>
                    </a:cubicBezTo>
                    <a:cubicBezTo>
                      <a:pt x="2346" y="278574"/>
                      <a:pt x="2504" y="279717"/>
                      <a:pt x="2674" y="280835"/>
                    </a:cubicBezTo>
                    <a:cubicBezTo>
                      <a:pt x="2929" y="282610"/>
                      <a:pt x="3221" y="284372"/>
                      <a:pt x="3525" y="286135"/>
                    </a:cubicBezTo>
                    <a:cubicBezTo>
                      <a:pt x="3780" y="287642"/>
                      <a:pt x="4048" y="289149"/>
                      <a:pt x="4339" y="290644"/>
                    </a:cubicBezTo>
                    <a:cubicBezTo>
                      <a:pt x="4607" y="292018"/>
                      <a:pt x="4874" y="293404"/>
                      <a:pt x="5166" y="294777"/>
                    </a:cubicBezTo>
                    <a:cubicBezTo>
                      <a:pt x="5202" y="295020"/>
                      <a:pt x="5263" y="295275"/>
                      <a:pt x="5324" y="295531"/>
                    </a:cubicBezTo>
                    <a:cubicBezTo>
                      <a:pt x="5579" y="296698"/>
                      <a:pt x="5835" y="297852"/>
                      <a:pt x="6090" y="299007"/>
                    </a:cubicBezTo>
                    <a:cubicBezTo>
                      <a:pt x="6479" y="300685"/>
                      <a:pt x="6868" y="302338"/>
                      <a:pt x="7281" y="303991"/>
                    </a:cubicBezTo>
                    <a:cubicBezTo>
                      <a:pt x="7646" y="305462"/>
                      <a:pt x="8035" y="306908"/>
                      <a:pt x="8436" y="308367"/>
                    </a:cubicBezTo>
                    <a:cubicBezTo>
                      <a:pt x="8837" y="309825"/>
                      <a:pt x="9238" y="311272"/>
                      <a:pt x="9651" y="312718"/>
                    </a:cubicBezTo>
                    <a:cubicBezTo>
                      <a:pt x="10077" y="314165"/>
                      <a:pt x="10502" y="315599"/>
                      <a:pt x="10952" y="317033"/>
                    </a:cubicBezTo>
                    <a:cubicBezTo>
                      <a:pt x="11256" y="318030"/>
                      <a:pt x="11572" y="319027"/>
                      <a:pt x="11900" y="320011"/>
                    </a:cubicBezTo>
                    <a:cubicBezTo>
                      <a:pt x="12228" y="320996"/>
                      <a:pt x="12556" y="321993"/>
                      <a:pt x="12885" y="322977"/>
                    </a:cubicBezTo>
                    <a:cubicBezTo>
                      <a:pt x="13213" y="323962"/>
                      <a:pt x="13565" y="324946"/>
                      <a:pt x="13906" y="325919"/>
                    </a:cubicBezTo>
                    <a:cubicBezTo>
                      <a:pt x="14246" y="326903"/>
                      <a:pt x="14611" y="327876"/>
                      <a:pt x="14963" y="328836"/>
                    </a:cubicBezTo>
                    <a:cubicBezTo>
                      <a:pt x="15303" y="329821"/>
                      <a:pt x="15680" y="330781"/>
                      <a:pt x="16045" y="331741"/>
                    </a:cubicBezTo>
                    <a:cubicBezTo>
                      <a:pt x="16434" y="332738"/>
                      <a:pt x="16811" y="333723"/>
                      <a:pt x="17212" y="334707"/>
                    </a:cubicBezTo>
                    <a:cubicBezTo>
                      <a:pt x="17564" y="335619"/>
                      <a:pt x="17941" y="336518"/>
                      <a:pt x="18306" y="337430"/>
                    </a:cubicBezTo>
                    <a:cubicBezTo>
                      <a:pt x="18342" y="337527"/>
                      <a:pt x="18379" y="337637"/>
                      <a:pt x="18440" y="337734"/>
                    </a:cubicBezTo>
                    <a:cubicBezTo>
                      <a:pt x="18804" y="338609"/>
                      <a:pt x="19181" y="339484"/>
                      <a:pt x="19546" y="340359"/>
                    </a:cubicBezTo>
                    <a:cubicBezTo>
                      <a:pt x="20336" y="342195"/>
                      <a:pt x="21138" y="344030"/>
                      <a:pt x="21977" y="345853"/>
                    </a:cubicBezTo>
                    <a:cubicBezTo>
                      <a:pt x="22791" y="347665"/>
                      <a:pt x="23654" y="349476"/>
                      <a:pt x="24529" y="351275"/>
                    </a:cubicBezTo>
                    <a:cubicBezTo>
                      <a:pt x="24967" y="352186"/>
                      <a:pt x="25404" y="353074"/>
                      <a:pt x="25854" y="353973"/>
                    </a:cubicBezTo>
                    <a:cubicBezTo>
                      <a:pt x="26304" y="354848"/>
                      <a:pt x="26754" y="355748"/>
                      <a:pt x="27216" y="356623"/>
                    </a:cubicBezTo>
                    <a:cubicBezTo>
                      <a:pt x="27617" y="357413"/>
                      <a:pt x="28018" y="358179"/>
                      <a:pt x="28443" y="358957"/>
                    </a:cubicBezTo>
                    <a:cubicBezTo>
                      <a:pt x="28954" y="359941"/>
                      <a:pt x="29489" y="360926"/>
                      <a:pt x="30023" y="361911"/>
                    </a:cubicBezTo>
                    <a:cubicBezTo>
                      <a:pt x="30801" y="363333"/>
                      <a:pt x="31591" y="364731"/>
                      <a:pt x="32406" y="366141"/>
                    </a:cubicBezTo>
                    <a:cubicBezTo>
                      <a:pt x="32819" y="366870"/>
                      <a:pt x="33220" y="367587"/>
                      <a:pt x="33658" y="368292"/>
                    </a:cubicBezTo>
                    <a:cubicBezTo>
                      <a:pt x="34278" y="369362"/>
                      <a:pt x="34922" y="370419"/>
                      <a:pt x="35578" y="371489"/>
                    </a:cubicBezTo>
                    <a:cubicBezTo>
                      <a:pt x="36454" y="372960"/>
                      <a:pt x="37365" y="374394"/>
                      <a:pt x="38289" y="375828"/>
                    </a:cubicBezTo>
                    <a:cubicBezTo>
                      <a:pt x="39116" y="377141"/>
                      <a:pt x="39979" y="378442"/>
                      <a:pt x="40842" y="379742"/>
                    </a:cubicBezTo>
                    <a:cubicBezTo>
                      <a:pt x="41352" y="380508"/>
                      <a:pt x="41863" y="381274"/>
                      <a:pt x="42385" y="382028"/>
                    </a:cubicBezTo>
                    <a:cubicBezTo>
                      <a:pt x="42531" y="382246"/>
                      <a:pt x="42665" y="382465"/>
                      <a:pt x="42823" y="382660"/>
                    </a:cubicBezTo>
                    <a:cubicBezTo>
                      <a:pt x="43589" y="383766"/>
                      <a:pt x="44355" y="384884"/>
                      <a:pt x="45145" y="385978"/>
                    </a:cubicBezTo>
                    <a:cubicBezTo>
                      <a:pt x="46226" y="387510"/>
                      <a:pt x="47333" y="389029"/>
                      <a:pt x="48463" y="390536"/>
                    </a:cubicBezTo>
                    <a:cubicBezTo>
                      <a:pt x="49132" y="391411"/>
                      <a:pt x="49788" y="392299"/>
                      <a:pt x="50469" y="393162"/>
                    </a:cubicBezTo>
                    <a:cubicBezTo>
                      <a:pt x="50858" y="393684"/>
                      <a:pt x="51247" y="394195"/>
                      <a:pt x="51648" y="394705"/>
                    </a:cubicBezTo>
                    <a:cubicBezTo>
                      <a:pt x="52134" y="395313"/>
                      <a:pt x="52608" y="395921"/>
                      <a:pt x="53094" y="396517"/>
                    </a:cubicBezTo>
                    <a:cubicBezTo>
                      <a:pt x="54322" y="398072"/>
                      <a:pt x="55574" y="399604"/>
                      <a:pt x="56850" y="401123"/>
                    </a:cubicBezTo>
                    <a:cubicBezTo>
                      <a:pt x="57470" y="401877"/>
                      <a:pt x="58114" y="402631"/>
                      <a:pt x="58771" y="403384"/>
                    </a:cubicBezTo>
                    <a:cubicBezTo>
                      <a:pt x="59719" y="404490"/>
                      <a:pt x="60691" y="405597"/>
                      <a:pt x="61651" y="406691"/>
                    </a:cubicBezTo>
                    <a:cubicBezTo>
                      <a:pt x="62320" y="407444"/>
                      <a:pt x="62989" y="408198"/>
                      <a:pt x="63669" y="408939"/>
                    </a:cubicBezTo>
                    <a:cubicBezTo>
                      <a:pt x="64423" y="409766"/>
                      <a:pt x="65176" y="410580"/>
                      <a:pt x="65954" y="411407"/>
                    </a:cubicBezTo>
                    <a:cubicBezTo>
                      <a:pt x="66927" y="412464"/>
                      <a:pt x="67936" y="413510"/>
                      <a:pt x="68945" y="414543"/>
                    </a:cubicBezTo>
                    <a:cubicBezTo>
                      <a:pt x="69552" y="415187"/>
                      <a:pt x="70184" y="415819"/>
                      <a:pt x="70817" y="416463"/>
                    </a:cubicBezTo>
                    <a:cubicBezTo>
                      <a:pt x="71509" y="417168"/>
                      <a:pt x="72202" y="417861"/>
                      <a:pt x="72907" y="418554"/>
                    </a:cubicBezTo>
                    <a:cubicBezTo>
                      <a:pt x="74086" y="419709"/>
                      <a:pt x="75253" y="420851"/>
                      <a:pt x="76457" y="421970"/>
                    </a:cubicBezTo>
                    <a:cubicBezTo>
                      <a:pt x="77271" y="422748"/>
                      <a:pt x="78085" y="423513"/>
                      <a:pt x="78924" y="424255"/>
                    </a:cubicBezTo>
                    <a:cubicBezTo>
                      <a:pt x="79629" y="424923"/>
                      <a:pt x="80346" y="425568"/>
                      <a:pt x="81051" y="426212"/>
                    </a:cubicBezTo>
                    <a:cubicBezTo>
                      <a:pt x="82449" y="427488"/>
                      <a:pt x="83896" y="428740"/>
                      <a:pt x="85342" y="429980"/>
                    </a:cubicBezTo>
                    <a:cubicBezTo>
                      <a:pt x="86059" y="430588"/>
                      <a:pt x="86776" y="431208"/>
                      <a:pt x="87494" y="431803"/>
                    </a:cubicBezTo>
                    <a:cubicBezTo>
                      <a:pt x="87797" y="432071"/>
                      <a:pt x="88101" y="432326"/>
                      <a:pt x="88429" y="432581"/>
                    </a:cubicBezTo>
                    <a:cubicBezTo>
                      <a:pt x="89037" y="433104"/>
                      <a:pt x="89669" y="433614"/>
                      <a:pt x="90289" y="434113"/>
                    </a:cubicBezTo>
                    <a:cubicBezTo>
                      <a:pt x="91250" y="434891"/>
                      <a:pt x="92210" y="435657"/>
                      <a:pt x="93158" y="436422"/>
                    </a:cubicBezTo>
                    <a:cubicBezTo>
                      <a:pt x="95516" y="438282"/>
                      <a:pt x="97923" y="440093"/>
                      <a:pt x="100342" y="441868"/>
                    </a:cubicBezTo>
                    <a:cubicBezTo>
                      <a:pt x="102870" y="443715"/>
                      <a:pt x="105423" y="445514"/>
                      <a:pt x="108024" y="447265"/>
                    </a:cubicBezTo>
                    <a:cubicBezTo>
                      <a:pt x="109324" y="448128"/>
                      <a:pt x="110625" y="449003"/>
                      <a:pt x="111938" y="449842"/>
                    </a:cubicBezTo>
                    <a:cubicBezTo>
                      <a:pt x="113251" y="450693"/>
                      <a:pt x="114575" y="451543"/>
                      <a:pt x="115913" y="452358"/>
                    </a:cubicBezTo>
                    <a:cubicBezTo>
                      <a:pt x="117250" y="453184"/>
                      <a:pt x="118599" y="453999"/>
                      <a:pt x="119948" y="454813"/>
                    </a:cubicBezTo>
                    <a:cubicBezTo>
                      <a:pt x="121285" y="455603"/>
                      <a:pt x="122659" y="456393"/>
                      <a:pt x="124020" y="457171"/>
                    </a:cubicBezTo>
                    <a:cubicBezTo>
                      <a:pt x="125381" y="457949"/>
                      <a:pt x="126767" y="458703"/>
                      <a:pt x="128141" y="459457"/>
                    </a:cubicBezTo>
                    <a:cubicBezTo>
                      <a:pt x="129514" y="460210"/>
                      <a:pt x="130912" y="460952"/>
                      <a:pt x="132310" y="461669"/>
                    </a:cubicBezTo>
                    <a:cubicBezTo>
                      <a:pt x="133623" y="462349"/>
                      <a:pt x="134936" y="463018"/>
                      <a:pt x="136273" y="463662"/>
                    </a:cubicBezTo>
                    <a:cubicBezTo>
                      <a:pt x="136516" y="463808"/>
                      <a:pt x="136759" y="463917"/>
                      <a:pt x="137002" y="464015"/>
                    </a:cubicBezTo>
                    <a:cubicBezTo>
                      <a:pt x="138266" y="464659"/>
                      <a:pt x="139530" y="465255"/>
                      <a:pt x="140806" y="465850"/>
                    </a:cubicBezTo>
                    <a:cubicBezTo>
                      <a:pt x="142241" y="466519"/>
                      <a:pt x="143663" y="467175"/>
                      <a:pt x="145122" y="467819"/>
                    </a:cubicBezTo>
                    <a:cubicBezTo>
                      <a:pt x="146568" y="468476"/>
                      <a:pt x="148015" y="469096"/>
                      <a:pt x="149473" y="469703"/>
                    </a:cubicBezTo>
                    <a:cubicBezTo>
                      <a:pt x="150932" y="470323"/>
                      <a:pt x="152390" y="470931"/>
                      <a:pt x="153873" y="471515"/>
                    </a:cubicBezTo>
                    <a:cubicBezTo>
                      <a:pt x="155040" y="471989"/>
                      <a:pt x="156219" y="472450"/>
                      <a:pt x="157398" y="472876"/>
                    </a:cubicBezTo>
                    <a:cubicBezTo>
                      <a:pt x="157982" y="473107"/>
                      <a:pt x="158577" y="473326"/>
                      <a:pt x="159149" y="473544"/>
                    </a:cubicBezTo>
                    <a:cubicBezTo>
                      <a:pt x="160048" y="473873"/>
                      <a:pt x="160923" y="474201"/>
                      <a:pt x="161811" y="474517"/>
                    </a:cubicBezTo>
                    <a:cubicBezTo>
                      <a:pt x="162467" y="474760"/>
                      <a:pt x="163124" y="474991"/>
                      <a:pt x="163792" y="475222"/>
                    </a:cubicBezTo>
                    <a:cubicBezTo>
                      <a:pt x="166697" y="476243"/>
                      <a:pt x="169639" y="477215"/>
                      <a:pt x="172605" y="478115"/>
                    </a:cubicBezTo>
                    <a:cubicBezTo>
                      <a:pt x="173516" y="478394"/>
                      <a:pt x="174416" y="478662"/>
                      <a:pt x="175340" y="478929"/>
                    </a:cubicBezTo>
                    <a:cubicBezTo>
                      <a:pt x="176251" y="479197"/>
                      <a:pt x="177163" y="479464"/>
                      <a:pt x="178087" y="479719"/>
                    </a:cubicBezTo>
                    <a:cubicBezTo>
                      <a:pt x="182317" y="480911"/>
                      <a:pt x="186583" y="481992"/>
                      <a:pt x="190898" y="482953"/>
                    </a:cubicBezTo>
                    <a:cubicBezTo>
                      <a:pt x="193135" y="483451"/>
                      <a:pt x="195396" y="483925"/>
                      <a:pt x="197644" y="484375"/>
                    </a:cubicBezTo>
                    <a:cubicBezTo>
                      <a:pt x="200027" y="484837"/>
                      <a:pt x="202434" y="485250"/>
                      <a:pt x="204840" y="485651"/>
                    </a:cubicBezTo>
                    <a:cubicBezTo>
                      <a:pt x="205643" y="485797"/>
                      <a:pt x="206457" y="485906"/>
                      <a:pt x="207271" y="486028"/>
                    </a:cubicBezTo>
                    <a:cubicBezTo>
                      <a:pt x="208876" y="486271"/>
                      <a:pt x="210505" y="486502"/>
                      <a:pt x="212121" y="486721"/>
                    </a:cubicBezTo>
                    <a:cubicBezTo>
                      <a:pt x="213750" y="486940"/>
                      <a:pt x="215379" y="487146"/>
                      <a:pt x="217008" y="487316"/>
                    </a:cubicBezTo>
                    <a:cubicBezTo>
                      <a:pt x="217834" y="487401"/>
                      <a:pt x="218649" y="487499"/>
                      <a:pt x="219475" y="487572"/>
                    </a:cubicBezTo>
                    <a:cubicBezTo>
                      <a:pt x="221323" y="487766"/>
                      <a:pt x="223183" y="487924"/>
                      <a:pt x="225042" y="488082"/>
                    </a:cubicBezTo>
                    <a:cubicBezTo>
                      <a:pt x="226489" y="488192"/>
                      <a:pt x="227923" y="488289"/>
                      <a:pt x="229370" y="488374"/>
                    </a:cubicBezTo>
                    <a:cubicBezTo>
                      <a:pt x="230196" y="488423"/>
                      <a:pt x="231035" y="488471"/>
                      <a:pt x="231862" y="488520"/>
                    </a:cubicBezTo>
                    <a:cubicBezTo>
                      <a:pt x="232518" y="488556"/>
                      <a:pt x="233162" y="488581"/>
                      <a:pt x="233831" y="488605"/>
                    </a:cubicBezTo>
                    <a:cubicBezTo>
                      <a:pt x="234365" y="488629"/>
                      <a:pt x="234912" y="488653"/>
                      <a:pt x="235447" y="488666"/>
                    </a:cubicBezTo>
                    <a:cubicBezTo>
                      <a:pt x="236444" y="488702"/>
                      <a:pt x="237441" y="488739"/>
                      <a:pt x="238425" y="488751"/>
                    </a:cubicBezTo>
                    <a:cubicBezTo>
                      <a:pt x="239033" y="488775"/>
                      <a:pt x="239641" y="488775"/>
                      <a:pt x="240237" y="488787"/>
                    </a:cubicBezTo>
                    <a:cubicBezTo>
                      <a:pt x="240783" y="488799"/>
                      <a:pt x="241330" y="488811"/>
                      <a:pt x="241877" y="488811"/>
                    </a:cubicBezTo>
                    <a:cubicBezTo>
                      <a:pt x="242716" y="488824"/>
                      <a:pt x="243567" y="488824"/>
                      <a:pt x="244406" y="488824"/>
                    </a:cubicBezTo>
                    <a:cubicBezTo>
                      <a:pt x="245378" y="488824"/>
                      <a:pt x="246351" y="488824"/>
                      <a:pt x="247311" y="488811"/>
                    </a:cubicBezTo>
                    <a:cubicBezTo>
                      <a:pt x="248271" y="488799"/>
                      <a:pt x="249256" y="488787"/>
                      <a:pt x="250216" y="488751"/>
                    </a:cubicBezTo>
                    <a:cubicBezTo>
                      <a:pt x="251188" y="488726"/>
                      <a:pt x="252149" y="488702"/>
                      <a:pt x="253109" y="488666"/>
                    </a:cubicBezTo>
                    <a:cubicBezTo>
                      <a:pt x="254033" y="488641"/>
                      <a:pt x="254944" y="488605"/>
                      <a:pt x="255868" y="488556"/>
                    </a:cubicBezTo>
                    <a:lnTo>
                      <a:pt x="255977" y="488556"/>
                    </a:lnTo>
                    <a:cubicBezTo>
                      <a:pt x="283327" y="487280"/>
                      <a:pt x="309497" y="481494"/>
                      <a:pt x="333771" y="471952"/>
                    </a:cubicBezTo>
                    <a:cubicBezTo>
                      <a:pt x="334756" y="471575"/>
                      <a:pt x="335740" y="471174"/>
                      <a:pt x="336713" y="470761"/>
                    </a:cubicBezTo>
                    <a:cubicBezTo>
                      <a:pt x="337515" y="470445"/>
                      <a:pt x="338305" y="470105"/>
                      <a:pt x="339083" y="469776"/>
                    </a:cubicBezTo>
                    <a:cubicBezTo>
                      <a:pt x="344079" y="467686"/>
                      <a:pt x="348977" y="465425"/>
                      <a:pt x="353791" y="463006"/>
                    </a:cubicBezTo>
                    <a:cubicBezTo>
                      <a:pt x="354715" y="462544"/>
                      <a:pt x="355638" y="462070"/>
                      <a:pt x="356562" y="461584"/>
                    </a:cubicBezTo>
                    <a:cubicBezTo>
                      <a:pt x="357498" y="461110"/>
                      <a:pt x="358410" y="460623"/>
                      <a:pt x="359322" y="460137"/>
                    </a:cubicBezTo>
                    <a:cubicBezTo>
                      <a:pt x="360245" y="459639"/>
                      <a:pt x="361157" y="459153"/>
                      <a:pt x="362069" y="458654"/>
                    </a:cubicBezTo>
                    <a:cubicBezTo>
                      <a:pt x="362591" y="458363"/>
                      <a:pt x="363102" y="458071"/>
                      <a:pt x="363624" y="457791"/>
                    </a:cubicBezTo>
                    <a:cubicBezTo>
                      <a:pt x="364378" y="457366"/>
                      <a:pt x="365144" y="456953"/>
                      <a:pt x="365885" y="456503"/>
                    </a:cubicBezTo>
                    <a:cubicBezTo>
                      <a:pt x="368207" y="455178"/>
                      <a:pt x="370517" y="453792"/>
                      <a:pt x="372802" y="452382"/>
                    </a:cubicBezTo>
                    <a:cubicBezTo>
                      <a:pt x="373677" y="451835"/>
                      <a:pt x="374564" y="451288"/>
                      <a:pt x="375427" y="450741"/>
                    </a:cubicBezTo>
                    <a:cubicBezTo>
                      <a:pt x="377178" y="449635"/>
                      <a:pt x="378904" y="448505"/>
                      <a:pt x="380605" y="447350"/>
                    </a:cubicBezTo>
                    <a:cubicBezTo>
                      <a:pt x="381468" y="446779"/>
                      <a:pt x="382319" y="446183"/>
                      <a:pt x="383170" y="445599"/>
                    </a:cubicBezTo>
                    <a:cubicBezTo>
                      <a:pt x="384872" y="444420"/>
                      <a:pt x="386549" y="443241"/>
                      <a:pt x="388227" y="442014"/>
                    </a:cubicBezTo>
                    <a:cubicBezTo>
                      <a:pt x="388980" y="441467"/>
                      <a:pt x="389746" y="440908"/>
                      <a:pt x="390500" y="440324"/>
                    </a:cubicBezTo>
                    <a:cubicBezTo>
                      <a:pt x="393186" y="438331"/>
                      <a:pt x="395824" y="436276"/>
                      <a:pt x="398401" y="434174"/>
                    </a:cubicBezTo>
                    <a:cubicBezTo>
                      <a:pt x="399884" y="432970"/>
                      <a:pt x="401342" y="431767"/>
                      <a:pt x="402789" y="430527"/>
                    </a:cubicBezTo>
                    <a:cubicBezTo>
                      <a:pt x="403567" y="429859"/>
                      <a:pt x="404345" y="429190"/>
                      <a:pt x="405123" y="428509"/>
                    </a:cubicBezTo>
                    <a:cubicBezTo>
                      <a:pt x="407456" y="426491"/>
                      <a:pt x="409741" y="424413"/>
                      <a:pt x="411990" y="422286"/>
                    </a:cubicBezTo>
                    <a:cubicBezTo>
                      <a:pt x="412744" y="421581"/>
                      <a:pt x="413485" y="420864"/>
                      <a:pt x="414227" y="420159"/>
                    </a:cubicBezTo>
                    <a:cubicBezTo>
                      <a:pt x="414968" y="419441"/>
                      <a:pt x="415710" y="418724"/>
                      <a:pt x="416439" y="418007"/>
                    </a:cubicBezTo>
                    <a:cubicBezTo>
                      <a:pt x="417144" y="417314"/>
                      <a:pt x="417825" y="416621"/>
                      <a:pt x="418518" y="415916"/>
                    </a:cubicBezTo>
                    <a:cubicBezTo>
                      <a:pt x="419210" y="415224"/>
                      <a:pt x="419891" y="414506"/>
                      <a:pt x="420572" y="413814"/>
                    </a:cubicBezTo>
                    <a:cubicBezTo>
                      <a:pt x="421945" y="412391"/>
                      <a:pt x="423295" y="410969"/>
                      <a:pt x="424607" y="409511"/>
                    </a:cubicBezTo>
                    <a:cubicBezTo>
                      <a:pt x="425252" y="408818"/>
                      <a:pt x="425884" y="408125"/>
                      <a:pt x="426528" y="407420"/>
                    </a:cubicBezTo>
                    <a:cubicBezTo>
                      <a:pt x="427209" y="406654"/>
                      <a:pt x="427877" y="405888"/>
                      <a:pt x="428558" y="405123"/>
                    </a:cubicBezTo>
                    <a:cubicBezTo>
                      <a:pt x="429141" y="404442"/>
                      <a:pt x="429725" y="403773"/>
                      <a:pt x="430308" y="403093"/>
                    </a:cubicBezTo>
                    <a:cubicBezTo>
                      <a:pt x="430393" y="402995"/>
                      <a:pt x="430478" y="402886"/>
                      <a:pt x="430563" y="402789"/>
                    </a:cubicBezTo>
                    <a:cubicBezTo>
                      <a:pt x="431815" y="401318"/>
                      <a:pt x="433043" y="399847"/>
                      <a:pt x="434247" y="398364"/>
                    </a:cubicBezTo>
                    <a:cubicBezTo>
                      <a:pt x="434866" y="397598"/>
                      <a:pt x="435474" y="396833"/>
                      <a:pt x="436082" y="396067"/>
                    </a:cubicBezTo>
                    <a:cubicBezTo>
                      <a:pt x="436082" y="396067"/>
                      <a:pt x="436094" y="396058"/>
                      <a:pt x="436106" y="396043"/>
                    </a:cubicBezTo>
                    <a:cubicBezTo>
                      <a:pt x="436702" y="395277"/>
                      <a:pt x="437322" y="394511"/>
                      <a:pt x="437905" y="393733"/>
                    </a:cubicBezTo>
                    <a:cubicBezTo>
                      <a:pt x="438513" y="392955"/>
                      <a:pt x="439109" y="392177"/>
                      <a:pt x="439704" y="391387"/>
                    </a:cubicBezTo>
                    <a:cubicBezTo>
                      <a:pt x="440288" y="390597"/>
                      <a:pt x="440883" y="389819"/>
                      <a:pt x="441467" y="389017"/>
                    </a:cubicBezTo>
                    <a:cubicBezTo>
                      <a:pt x="442050" y="388227"/>
                      <a:pt x="442634" y="387437"/>
                      <a:pt x="443205" y="386634"/>
                    </a:cubicBezTo>
                    <a:cubicBezTo>
                      <a:pt x="443776" y="385832"/>
                      <a:pt x="444347" y="385030"/>
                      <a:pt x="444919" y="384228"/>
                    </a:cubicBezTo>
                    <a:cubicBezTo>
                      <a:pt x="445490" y="383413"/>
                      <a:pt x="446049" y="382611"/>
                      <a:pt x="446596" y="381784"/>
                    </a:cubicBezTo>
                    <a:cubicBezTo>
                      <a:pt x="447155" y="380970"/>
                      <a:pt x="447702" y="380156"/>
                      <a:pt x="448262" y="379329"/>
                    </a:cubicBezTo>
                    <a:cubicBezTo>
                      <a:pt x="450486" y="375962"/>
                      <a:pt x="452625" y="372546"/>
                      <a:pt x="454692" y="369082"/>
                    </a:cubicBezTo>
                    <a:cubicBezTo>
                      <a:pt x="455154" y="368304"/>
                      <a:pt x="455615" y="367526"/>
                      <a:pt x="456053" y="366736"/>
                    </a:cubicBezTo>
                    <a:cubicBezTo>
                      <a:pt x="457086" y="364962"/>
                      <a:pt x="458095" y="363175"/>
                      <a:pt x="459080" y="361376"/>
                    </a:cubicBezTo>
                    <a:cubicBezTo>
                      <a:pt x="459517" y="360574"/>
                      <a:pt x="459943" y="359759"/>
                      <a:pt x="460380" y="358945"/>
                    </a:cubicBezTo>
                    <a:cubicBezTo>
                      <a:pt x="461316" y="357194"/>
                      <a:pt x="462216" y="355420"/>
                      <a:pt x="463115" y="353645"/>
                    </a:cubicBezTo>
                    <a:cubicBezTo>
                      <a:pt x="463553" y="352794"/>
                      <a:pt x="463966" y="351919"/>
                      <a:pt x="464391" y="351056"/>
                    </a:cubicBezTo>
                    <a:cubicBezTo>
                      <a:pt x="464428" y="350971"/>
                      <a:pt x="464464" y="350886"/>
                      <a:pt x="464501" y="350813"/>
                    </a:cubicBezTo>
                    <a:cubicBezTo>
                      <a:pt x="464914" y="349974"/>
                      <a:pt x="465315" y="349123"/>
                      <a:pt x="465717" y="348285"/>
                    </a:cubicBezTo>
                    <a:cubicBezTo>
                      <a:pt x="466142" y="347373"/>
                      <a:pt x="466555" y="346486"/>
                      <a:pt x="466969" y="345574"/>
                    </a:cubicBezTo>
                    <a:cubicBezTo>
                      <a:pt x="467382" y="344662"/>
                      <a:pt x="467783" y="343775"/>
                      <a:pt x="468184" y="342863"/>
                    </a:cubicBezTo>
                    <a:cubicBezTo>
                      <a:pt x="468196" y="342839"/>
                      <a:pt x="468208" y="342802"/>
                      <a:pt x="468220" y="342778"/>
                    </a:cubicBezTo>
                    <a:cubicBezTo>
                      <a:pt x="469011" y="340979"/>
                      <a:pt x="469776" y="339168"/>
                      <a:pt x="470530" y="337345"/>
                    </a:cubicBezTo>
                    <a:cubicBezTo>
                      <a:pt x="471308" y="335497"/>
                      <a:pt x="472037" y="333637"/>
                      <a:pt x="472754" y="331766"/>
                    </a:cubicBezTo>
                    <a:cubicBezTo>
                      <a:pt x="473107" y="330830"/>
                      <a:pt x="473459" y="329894"/>
                      <a:pt x="473800" y="328958"/>
                    </a:cubicBezTo>
                    <a:cubicBezTo>
                      <a:pt x="474152" y="328010"/>
                      <a:pt x="474493" y="327074"/>
                      <a:pt x="474821" y="326126"/>
                    </a:cubicBezTo>
                    <a:cubicBezTo>
                      <a:pt x="475161" y="325177"/>
                      <a:pt x="475501" y="324241"/>
                      <a:pt x="475817" y="323281"/>
                    </a:cubicBezTo>
                    <a:cubicBezTo>
                      <a:pt x="476024" y="322698"/>
                      <a:pt x="476219" y="322102"/>
                      <a:pt x="476401" y="321519"/>
                    </a:cubicBezTo>
                    <a:cubicBezTo>
                      <a:pt x="476693" y="320692"/>
                      <a:pt x="476960" y="319853"/>
                      <a:pt x="477215" y="319027"/>
                    </a:cubicBezTo>
                    <a:cubicBezTo>
                      <a:pt x="477507" y="318091"/>
                      <a:pt x="477799" y="317167"/>
                      <a:pt x="478078" y="316231"/>
                    </a:cubicBezTo>
                    <a:cubicBezTo>
                      <a:pt x="478504" y="314918"/>
                      <a:pt x="478881" y="313618"/>
                      <a:pt x="479257" y="312293"/>
                    </a:cubicBezTo>
                    <a:cubicBezTo>
                      <a:pt x="479355" y="311965"/>
                      <a:pt x="479452" y="311624"/>
                      <a:pt x="479549" y="311284"/>
                    </a:cubicBezTo>
                    <a:cubicBezTo>
                      <a:pt x="479780" y="310470"/>
                      <a:pt x="480011" y="309655"/>
                      <a:pt x="480230" y="308816"/>
                    </a:cubicBezTo>
                    <a:cubicBezTo>
                      <a:pt x="480777" y="306859"/>
                      <a:pt x="481287" y="304902"/>
                      <a:pt x="481761" y="302933"/>
                    </a:cubicBezTo>
                    <a:cubicBezTo>
                      <a:pt x="482248" y="300964"/>
                      <a:pt x="482710" y="298995"/>
                      <a:pt x="483135" y="297001"/>
                    </a:cubicBezTo>
                    <a:cubicBezTo>
                      <a:pt x="483354" y="296005"/>
                      <a:pt x="483573" y="295008"/>
                      <a:pt x="483779" y="293999"/>
                    </a:cubicBezTo>
                    <a:cubicBezTo>
                      <a:pt x="483986" y="293002"/>
                      <a:pt x="484180" y="291994"/>
                      <a:pt x="484375" y="290997"/>
                    </a:cubicBezTo>
                    <a:cubicBezTo>
                      <a:pt x="484569" y="289988"/>
                      <a:pt x="484740" y="288979"/>
                      <a:pt x="484934" y="287970"/>
                    </a:cubicBezTo>
                    <a:cubicBezTo>
                      <a:pt x="485116" y="286961"/>
                      <a:pt x="485274" y="285952"/>
                      <a:pt x="485457" y="284944"/>
                    </a:cubicBezTo>
                    <a:cubicBezTo>
                      <a:pt x="485797" y="282914"/>
                      <a:pt x="486125" y="280884"/>
                      <a:pt x="486393" y="278842"/>
                    </a:cubicBezTo>
                    <a:cubicBezTo>
                      <a:pt x="486538" y="277821"/>
                      <a:pt x="486672" y="276799"/>
                      <a:pt x="486806" y="275766"/>
                    </a:cubicBezTo>
                    <a:cubicBezTo>
                      <a:pt x="487085" y="273724"/>
                      <a:pt x="487316" y="271670"/>
                      <a:pt x="487523" y="269604"/>
                    </a:cubicBezTo>
                    <a:cubicBezTo>
                      <a:pt x="487620" y="268570"/>
                      <a:pt x="487730" y="267537"/>
                      <a:pt x="487815" y="266504"/>
                    </a:cubicBezTo>
                    <a:cubicBezTo>
                      <a:pt x="488009" y="264571"/>
                      <a:pt x="488143" y="262639"/>
                      <a:pt x="488277" y="260694"/>
                    </a:cubicBezTo>
                    <a:cubicBezTo>
                      <a:pt x="488277" y="260499"/>
                      <a:pt x="488289" y="260329"/>
                      <a:pt x="488301" y="260147"/>
                    </a:cubicBezTo>
                    <a:cubicBezTo>
                      <a:pt x="488362" y="259272"/>
                      <a:pt x="488410" y="258396"/>
                      <a:pt x="488459" y="257521"/>
                    </a:cubicBezTo>
                    <a:cubicBezTo>
                      <a:pt x="488483" y="257047"/>
                      <a:pt x="488508" y="256561"/>
                      <a:pt x="488532" y="256087"/>
                    </a:cubicBezTo>
                    <a:cubicBezTo>
                      <a:pt x="488556" y="255382"/>
                      <a:pt x="488593" y="254677"/>
                      <a:pt x="488617" y="253972"/>
                    </a:cubicBezTo>
                    <a:cubicBezTo>
                      <a:pt x="488653" y="252781"/>
                      <a:pt x="488690" y="251589"/>
                      <a:pt x="488726" y="250386"/>
                    </a:cubicBezTo>
                    <a:cubicBezTo>
                      <a:pt x="488738" y="249474"/>
                      <a:pt x="488763" y="248563"/>
                      <a:pt x="488763" y="247651"/>
                    </a:cubicBezTo>
                    <a:cubicBezTo>
                      <a:pt x="488787" y="246594"/>
                      <a:pt x="488799" y="245536"/>
                      <a:pt x="488799" y="244479"/>
                    </a:cubicBezTo>
                    <a:cubicBezTo>
                      <a:pt x="488799" y="243421"/>
                      <a:pt x="488787" y="242364"/>
                      <a:pt x="488763" y="241306"/>
                    </a:cubicBezTo>
                    <a:cubicBezTo>
                      <a:pt x="488763" y="240394"/>
                      <a:pt x="488738" y="239483"/>
                      <a:pt x="488726" y="238571"/>
                    </a:cubicBezTo>
                    <a:close/>
                    <a:moveTo>
                      <a:pt x="379426" y="146823"/>
                    </a:moveTo>
                    <a:cubicBezTo>
                      <a:pt x="377530" y="148391"/>
                      <a:pt x="375196" y="149157"/>
                      <a:pt x="372911" y="149157"/>
                    </a:cubicBezTo>
                    <a:cubicBezTo>
                      <a:pt x="369933" y="149157"/>
                      <a:pt x="367004" y="147881"/>
                      <a:pt x="364962" y="145401"/>
                    </a:cubicBezTo>
                    <a:cubicBezTo>
                      <a:pt x="355809" y="134267"/>
                      <a:pt x="345306" y="124604"/>
                      <a:pt x="333808" y="116545"/>
                    </a:cubicBezTo>
                    <a:cubicBezTo>
                      <a:pt x="310992" y="100573"/>
                      <a:pt x="284214" y="90958"/>
                      <a:pt x="256026" y="88867"/>
                    </a:cubicBezTo>
                    <a:cubicBezTo>
                      <a:pt x="252185" y="88575"/>
                      <a:pt x="248320" y="88417"/>
                      <a:pt x="244418" y="88417"/>
                    </a:cubicBezTo>
                    <a:cubicBezTo>
                      <a:pt x="238754" y="88417"/>
                      <a:pt x="234159" y="83823"/>
                      <a:pt x="234159" y="78146"/>
                    </a:cubicBezTo>
                    <a:cubicBezTo>
                      <a:pt x="234159" y="72470"/>
                      <a:pt x="238754" y="67887"/>
                      <a:pt x="244418" y="67887"/>
                    </a:cubicBezTo>
                    <a:cubicBezTo>
                      <a:pt x="248308" y="67887"/>
                      <a:pt x="252173" y="68033"/>
                      <a:pt x="256026" y="68264"/>
                    </a:cubicBezTo>
                    <a:cubicBezTo>
                      <a:pt x="283764" y="70075"/>
                      <a:pt x="310312" y="78341"/>
                      <a:pt x="333808" y="92137"/>
                    </a:cubicBezTo>
                    <a:cubicBezTo>
                      <a:pt x="351481" y="102530"/>
                      <a:pt x="367429" y="116058"/>
                      <a:pt x="380848" y="132359"/>
                    </a:cubicBezTo>
                    <a:cubicBezTo>
                      <a:pt x="384446" y="136734"/>
                      <a:pt x="383826" y="143213"/>
                      <a:pt x="379426" y="146823"/>
                    </a:cubicBezTo>
                    <a:close/>
                    <a:moveTo>
                      <a:pt x="410690" y="254689"/>
                    </a:moveTo>
                    <a:cubicBezTo>
                      <a:pt x="405025" y="254689"/>
                      <a:pt x="400419" y="250094"/>
                      <a:pt x="400419" y="244418"/>
                    </a:cubicBezTo>
                    <a:cubicBezTo>
                      <a:pt x="400419" y="225213"/>
                      <a:pt x="396966" y="206445"/>
                      <a:pt x="390172" y="188674"/>
                    </a:cubicBezTo>
                    <a:cubicBezTo>
                      <a:pt x="388142" y="183374"/>
                      <a:pt x="390791" y="177430"/>
                      <a:pt x="396091" y="175400"/>
                    </a:cubicBezTo>
                    <a:cubicBezTo>
                      <a:pt x="401391" y="173383"/>
                      <a:pt x="407335" y="176020"/>
                      <a:pt x="409353" y="181320"/>
                    </a:cubicBezTo>
                    <a:cubicBezTo>
                      <a:pt x="417059" y="201449"/>
                      <a:pt x="420973" y="222672"/>
                      <a:pt x="420973" y="244418"/>
                    </a:cubicBezTo>
                    <a:cubicBezTo>
                      <a:pt x="420973" y="250094"/>
                      <a:pt x="416378" y="254689"/>
                      <a:pt x="410702" y="254689"/>
                    </a:cubicBezTo>
                    <a:close/>
                  </a:path>
                </a:pathLst>
              </a:custGeom>
              <a:solidFill>
                <a:srgbClr val="71DA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4" name="Freeform: Shape 103">
                <a:extLst>
                  <a:ext uri="{FF2B5EF4-FFF2-40B4-BE49-F238E27FC236}">
                    <a16:creationId xmlns:a16="http://schemas.microsoft.com/office/drawing/2014/main" id="{C4BBC746-7D99-B0B5-DC74-CF0CDF85DFAB}"/>
                  </a:ext>
                </a:extLst>
              </p:cNvPr>
              <p:cNvSpPr/>
              <p:nvPr/>
            </p:nvSpPr>
            <p:spPr>
              <a:xfrm>
                <a:off x="4641450" y="2861494"/>
                <a:ext cx="56881" cy="18026"/>
              </a:xfrm>
              <a:custGeom>
                <a:avLst/>
                <a:gdLst>
                  <a:gd name="connsiteX0" fmla="*/ 97692 w 97691"/>
                  <a:gd name="connsiteY0" fmla="*/ 0 h 30959"/>
                  <a:gd name="connsiteX1" fmla="*/ 97692 w 97691"/>
                  <a:gd name="connsiteY1" fmla="*/ 27386 h 30959"/>
                  <a:gd name="connsiteX2" fmla="*/ 60399 w 97691"/>
                  <a:gd name="connsiteY2" fmla="*/ 30753 h 30959"/>
                  <a:gd name="connsiteX3" fmla="*/ 48815 w 97691"/>
                  <a:gd name="connsiteY3" fmla="*/ 30959 h 30959"/>
                  <a:gd name="connsiteX4" fmla="*/ 0 w 97691"/>
                  <a:gd name="connsiteY4" fmla="*/ 27398 h 30959"/>
                  <a:gd name="connsiteX5" fmla="*/ 0 w 97691"/>
                  <a:gd name="connsiteY5" fmla="*/ 12 h 30959"/>
                  <a:gd name="connsiteX6" fmla="*/ 48815 w 97691"/>
                  <a:gd name="connsiteY6" fmla="*/ 3574 h 30959"/>
                  <a:gd name="connsiteX7" fmla="*/ 60399 w 97691"/>
                  <a:gd name="connsiteY7" fmla="*/ 3367 h 30959"/>
                  <a:gd name="connsiteX8" fmla="*/ 97692 w 97691"/>
                  <a:gd name="connsiteY8" fmla="*/ 0 h 3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691" h="30959">
                    <a:moveTo>
                      <a:pt x="97692" y="0"/>
                    </a:moveTo>
                    <a:lnTo>
                      <a:pt x="97692" y="27386"/>
                    </a:lnTo>
                    <a:cubicBezTo>
                      <a:pt x="85464" y="29185"/>
                      <a:pt x="73017" y="30327"/>
                      <a:pt x="60399" y="30753"/>
                    </a:cubicBezTo>
                    <a:cubicBezTo>
                      <a:pt x="56558" y="30899"/>
                      <a:pt x="52693" y="30959"/>
                      <a:pt x="48815" y="30959"/>
                    </a:cubicBezTo>
                    <a:cubicBezTo>
                      <a:pt x="32236" y="30959"/>
                      <a:pt x="15936" y="29732"/>
                      <a:pt x="0" y="27398"/>
                    </a:cubicBezTo>
                    <a:lnTo>
                      <a:pt x="0" y="12"/>
                    </a:lnTo>
                    <a:cubicBezTo>
                      <a:pt x="15948" y="2346"/>
                      <a:pt x="32224" y="3574"/>
                      <a:pt x="48815" y="3574"/>
                    </a:cubicBezTo>
                    <a:cubicBezTo>
                      <a:pt x="52693" y="3574"/>
                      <a:pt x="56558" y="3501"/>
                      <a:pt x="60399" y="3367"/>
                    </a:cubicBezTo>
                    <a:cubicBezTo>
                      <a:pt x="73029" y="2929"/>
                      <a:pt x="85464" y="1799"/>
                      <a:pt x="97692" y="0"/>
                    </a:cubicBezTo>
                    <a:close/>
                  </a:path>
                </a:pathLst>
              </a:custGeom>
              <a:solidFill>
                <a:srgbClr val="14141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5" name="Freeform: Shape 104">
                <a:extLst>
                  <a:ext uri="{FF2B5EF4-FFF2-40B4-BE49-F238E27FC236}">
                    <a16:creationId xmlns:a16="http://schemas.microsoft.com/office/drawing/2014/main" id="{0698A06B-15D6-96DB-1C06-7E7D7F1D3212}"/>
                  </a:ext>
                </a:extLst>
              </p:cNvPr>
              <p:cNvSpPr/>
              <p:nvPr/>
            </p:nvSpPr>
            <p:spPr>
              <a:xfrm>
                <a:off x="4475462" y="2474774"/>
                <a:ext cx="388785" cy="388827"/>
              </a:xfrm>
              <a:custGeom>
                <a:avLst/>
                <a:gdLst>
                  <a:gd name="connsiteX0" fmla="*/ 423270 w 667724"/>
                  <a:gd name="connsiteY0" fmla="*/ 12155 h 667797"/>
                  <a:gd name="connsiteX1" fmla="*/ 345489 w 667724"/>
                  <a:gd name="connsiteY1" fmla="*/ 231 h 667797"/>
                  <a:gd name="connsiteX2" fmla="*/ 341162 w 667724"/>
                  <a:gd name="connsiteY2" fmla="*/ 97 h 667797"/>
                  <a:gd name="connsiteX3" fmla="*/ 333881 w 667724"/>
                  <a:gd name="connsiteY3" fmla="*/ 0 h 667797"/>
                  <a:gd name="connsiteX4" fmla="*/ 179339 w 667724"/>
                  <a:gd name="connsiteY4" fmla="*/ 37864 h 667797"/>
                  <a:gd name="connsiteX5" fmla="*/ 178828 w 667724"/>
                  <a:gd name="connsiteY5" fmla="*/ 38131 h 667797"/>
                  <a:gd name="connsiteX6" fmla="*/ 178415 w 667724"/>
                  <a:gd name="connsiteY6" fmla="*/ 38350 h 667797"/>
                  <a:gd name="connsiteX7" fmla="*/ 93778 w 667724"/>
                  <a:gd name="connsiteY7" fmla="*/ 101910 h 667797"/>
                  <a:gd name="connsiteX8" fmla="*/ 93766 w 667724"/>
                  <a:gd name="connsiteY8" fmla="*/ 101910 h 667797"/>
                  <a:gd name="connsiteX9" fmla="*/ 73223 w 667724"/>
                  <a:gd name="connsiteY9" fmla="*/ 125248 h 667797"/>
                  <a:gd name="connsiteX10" fmla="*/ 48317 w 667724"/>
                  <a:gd name="connsiteY10" fmla="*/ 160826 h 667797"/>
                  <a:gd name="connsiteX11" fmla="*/ 47235 w 667724"/>
                  <a:gd name="connsiteY11" fmla="*/ 162601 h 667797"/>
                  <a:gd name="connsiteX12" fmla="*/ 47199 w 667724"/>
                  <a:gd name="connsiteY12" fmla="*/ 162662 h 667797"/>
                  <a:gd name="connsiteX13" fmla="*/ 26462 w 667724"/>
                  <a:gd name="connsiteY13" fmla="*/ 203430 h 667797"/>
                  <a:gd name="connsiteX14" fmla="*/ 26450 w 667724"/>
                  <a:gd name="connsiteY14" fmla="*/ 203430 h 667797"/>
                  <a:gd name="connsiteX15" fmla="*/ 17552 w 667724"/>
                  <a:gd name="connsiteY15" fmla="*/ 226768 h 667797"/>
                  <a:gd name="connsiteX16" fmla="*/ 17564 w 667724"/>
                  <a:gd name="connsiteY16" fmla="*/ 226768 h 667797"/>
                  <a:gd name="connsiteX17" fmla="*/ 13444 w 667724"/>
                  <a:gd name="connsiteY17" fmla="*/ 239811 h 667797"/>
                  <a:gd name="connsiteX18" fmla="*/ 1264 w 667724"/>
                  <a:gd name="connsiteY18" fmla="*/ 304951 h 667797"/>
                  <a:gd name="connsiteX19" fmla="*/ 73 w 667724"/>
                  <a:gd name="connsiteY19" fmla="*/ 328289 h 667797"/>
                  <a:gd name="connsiteX20" fmla="*/ 0 w 667724"/>
                  <a:gd name="connsiteY20" fmla="*/ 333893 h 667797"/>
                  <a:gd name="connsiteX21" fmla="*/ 304 w 667724"/>
                  <a:gd name="connsiteY21" fmla="*/ 347592 h 667797"/>
                  <a:gd name="connsiteX22" fmla="*/ 5446 w 667724"/>
                  <a:gd name="connsiteY22" fmla="*/ 394098 h 667797"/>
                  <a:gd name="connsiteX23" fmla="*/ 7950 w 667724"/>
                  <a:gd name="connsiteY23" fmla="*/ 406496 h 667797"/>
                  <a:gd name="connsiteX24" fmla="*/ 7937 w 667724"/>
                  <a:gd name="connsiteY24" fmla="*/ 406496 h 667797"/>
                  <a:gd name="connsiteX25" fmla="*/ 14027 w 667724"/>
                  <a:gd name="connsiteY25" fmla="*/ 429822 h 667797"/>
                  <a:gd name="connsiteX26" fmla="*/ 48974 w 667724"/>
                  <a:gd name="connsiteY26" fmla="*/ 508017 h 667797"/>
                  <a:gd name="connsiteX27" fmla="*/ 64630 w 667724"/>
                  <a:gd name="connsiteY27" fmla="*/ 531343 h 667797"/>
                  <a:gd name="connsiteX28" fmla="*/ 64642 w 667724"/>
                  <a:gd name="connsiteY28" fmla="*/ 531343 h 667797"/>
                  <a:gd name="connsiteX29" fmla="*/ 109604 w 667724"/>
                  <a:gd name="connsiteY29" fmla="*/ 581216 h 667797"/>
                  <a:gd name="connsiteX30" fmla="*/ 285041 w 667724"/>
                  <a:gd name="connsiteY30" fmla="*/ 664236 h 667797"/>
                  <a:gd name="connsiteX31" fmla="*/ 285053 w 667724"/>
                  <a:gd name="connsiteY31" fmla="*/ 664236 h 667797"/>
                  <a:gd name="connsiteX32" fmla="*/ 333868 w 667724"/>
                  <a:gd name="connsiteY32" fmla="*/ 667798 h 667797"/>
                  <a:gd name="connsiteX33" fmla="*/ 345452 w 667724"/>
                  <a:gd name="connsiteY33" fmla="*/ 667591 h 667797"/>
                  <a:gd name="connsiteX34" fmla="*/ 382745 w 667724"/>
                  <a:gd name="connsiteY34" fmla="*/ 664224 h 667797"/>
                  <a:gd name="connsiteX35" fmla="*/ 423246 w 667724"/>
                  <a:gd name="connsiteY35" fmla="*/ 655655 h 667797"/>
                  <a:gd name="connsiteX36" fmla="*/ 667421 w 667724"/>
                  <a:gd name="connsiteY36" fmla="*/ 347616 h 667797"/>
                  <a:gd name="connsiteX37" fmla="*/ 667725 w 667724"/>
                  <a:gd name="connsiteY37" fmla="*/ 333917 h 667797"/>
                  <a:gd name="connsiteX38" fmla="*/ 423234 w 667724"/>
                  <a:gd name="connsiteY38" fmla="*/ 12192 h 667797"/>
                  <a:gd name="connsiteX39" fmla="*/ 578213 w 667724"/>
                  <a:gd name="connsiteY39" fmla="*/ 339788 h 667797"/>
                  <a:gd name="connsiteX40" fmla="*/ 578104 w 667724"/>
                  <a:gd name="connsiteY40" fmla="*/ 343374 h 667797"/>
                  <a:gd name="connsiteX41" fmla="*/ 578019 w 667724"/>
                  <a:gd name="connsiteY41" fmla="*/ 345489 h 667797"/>
                  <a:gd name="connsiteX42" fmla="*/ 577946 w 667724"/>
                  <a:gd name="connsiteY42" fmla="*/ 346923 h 667797"/>
                  <a:gd name="connsiteX43" fmla="*/ 577788 w 667724"/>
                  <a:gd name="connsiteY43" fmla="*/ 349549 h 667797"/>
                  <a:gd name="connsiteX44" fmla="*/ 577764 w 667724"/>
                  <a:gd name="connsiteY44" fmla="*/ 350096 h 667797"/>
                  <a:gd name="connsiteX45" fmla="*/ 577302 w 667724"/>
                  <a:gd name="connsiteY45" fmla="*/ 355906 h 667797"/>
                  <a:gd name="connsiteX46" fmla="*/ 577010 w 667724"/>
                  <a:gd name="connsiteY46" fmla="*/ 359006 h 667797"/>
                  <a:gd name="connsiteX47" fmla="*/ 576293 w 667724"/>
                  <a:gd name="connsiteY47" fmla="*/ 365168 h 667797"/>
                  <a:gd name="connsiteX48" fmla="*/ 575880 w 667724"/>
                  <a:gd name="connsiteY48" fmla="*/ 368243 h 667797"/>
                  <a:gd name="connsiteX49" fmla="*/ 574944 w 667724"/>
                  <a:gd name="connsiteY49" fmla="*/ 374345 h 667797"/>
                  <a:gd name="connsiteX50" fmla="*/ 574421 w 667724"/>
                  <a:gd name="connsiteY50" fmla="*/ 377372 h 667797"/>
                  <a:gd name="connsiteX51" fmla="*/ 573862 w 667724"/>
                  <a:gd name="connsiteY51" fmla="*/ 380399 h 667797"/>
                  <a:gd name="connsiteX52" fmla="*/ 573266 w 667724"/>
                  <a:gd name="connsiteY52" fmla="*/ 383401 h 667797"/>
                  <a:gd name="connsiteX53" fmla="*/ 572622 w 667724"/>
                  <a:gd name="connsiteY53" fmla="*/ 386403 h 667797"/>
                  <a:gd name="connsiteX54" fmla="*/ 571248 w 667724"/>
                  <a:gd name="connsiteY54" fmla="*/ 392335 h 667797"/>
                  <a:gd name="connsiteX55" fmla="*/ 569717 w 667724"/>
                  <a:gd name="connsiteY55" fmla="*/ 398218 h 667797"/>
                  <a:gd name="connsiteX56" fmla="*/ 569036 w 667724"/>
                  <a:gd name="connsiteY56" fmla="*/ 400686 h 667797"/>
                  <a:gd name="connsiteX57" fmla="*/ 568744 w 667724"/>
                  <a:gd name="connsiteY57" fmla="*/ 401695 h 667797"/>
                  <a:gd name="connsiteX58" fmla="*/ 567565 w 667724"/>
                  <a:gd name="connsiteY58" fmla="*/ 405633 h 667797"/>
                  <a:gd name="connsiteX59" fmla="*/ 566702 w 667724"/>
                  <a:gd name="connsiteY59" fmla="*/ 408429 h 667797"/>
                  <a:gd name="connsiteX60" fmla="*/ 565888 w 667724"/>
                  <a:gd name="connsiteY60" fmla="*/ 410921 h 667797"/>
                  <a:gd name="connsiteX61" fmla="*/ 565305 w 667724"/>
                  <a:gd name="connsiteY61" fmla="*/ 412683 h 667797"/>
                  <a:gd name="connsiteX62" fmla="*/ 564308 w 667724"/>
                  <a:gd name="connsiteY62" fmla="*/ 415527 h 667797"/>
                  <a:gd name="connsiteX63" fmla="*/ 563287 w 667724"/>
                  <a:gd name="connsiteY63" fmla="*/ 418360 h 667797"/>
                  <a:gd name="connsiteX64" fmla="*/ 562241 w 667724"/>
                  <a:gd name="connsiteY64" fmla="*/ 421167 h 667797"/>
                  <a:gd name="connsiteX65" fmla="*/ 560017 w 667724"/>
                  <a:gd name="connsiteY65" fmla="*/ 426747 h 667797"/>
                  <a:gd name="connsiteX66" fmla="*/ 557707 w 667724"/>
                  <a:gd name="connsiteY66" fmla="*/ 432180 h 667797"/>
                  <a:gd name="connsiteX67" fmla="*/ 557671 w 667724"/>
                  <a:gd name="connsiteY67" fmla="*/ 432265 h 667797"/>
                  <a:gd name="connsiteX68" fmla="*/ 556455 w 667724"/>
                  <a:gd name="connsiteY68" fmla="*/ 434976 h 667797"/>
                  <a:gd name="connsiteX69" fmla="*/ 555204 w 667724"/>
                  <a:gd name="connsiteY69" fmla="*/ 437686 h 667797"/>
                  <a:gd name="connsiteX70" fmla="*/ 553988 w 667724"/>
                  <a:gd name="connsiteY70" fmla="*/ 440215 h 667797"/>
                  <a:gd name="connsiteX71" fmla="*/ 553879 w 667724"/>
                  <a:gd name="connsiteY71" fmla="*/ 440458 h 667797"/>
                  <a:gd name="connsiteX72" fmla="*/ 552602 w 667724"/>
                  <a:gd name="connsiteY72" fmla="*/ 443047 h 667797"/>
                  <a:gd name="connsiteX73" fmla="*/ 549867 w 667724"/>
                  <a:gd name="connsiteY73" fmla="*/ 448347 h 667797"/>
                  <a:gd name="connsiteX74" fmla="*/ 548567 w 667724"/>
                  <a:gd name="connsiteY74" fmla="*/ 450778 h 667797"/>
                  <a:gd name="connsiteX75" fmla="*/ 545540 w 667724"/>
                  <a:gd name="connsiteY75" fmla="*/ 456138 h 667797"/>
                  <a:gd name="connsiteX76" fmla="*/ 544179 w 667724"/>
                  <a:gd name="connsiteY76" fmla="*/ 458484 h 667797"/>
                  <a:gd name="connsiteX77" fmla="*/ 537749 w 667724"/>
                  <a:gd name="connsiteY77" fmla="*/ 468731 h 667797"/>
                  <a:gd name="connsiteX78" fmla="*/ 536083 w 667724"/>
                  <a:gd name="connsiteY78" fmla="*/ 471186 h 667797"/>
                  <a:gd name="connsiteX79" fmla="*/ 534406 w 667724"/>
                  <a:gd name="connsiteY79" fmla="*/ 473630 h 667797"/>
                  <a:gd name="connsiteX80" fmla="*/ 532692 w 667724"/>
                  <a:gd name="connsiteY80" fmla="*/ 476036 h 667797"/>
                  <a:gd name="connsiteX81" fmla="*/ 530954 w 667724"/>
                  <a:gd name="connsiteY81" fmla="*/ 478419 h 667797"/>
                  <a:gd name="connsiteX82" fmla="*/ 529191 w 667724"/>
                  <a:gd name="connsiteY82" fmla="*/ 480789 h 667797"/>
                  <a:gd name="connsiteX83" fmla="*/ 527392 w 667724"/>
                  <a:gd name="connsiteY83" fmla="*/ 483135 h 667797"/>
                  <a:gd name="connsiteX84" fmla="*/ 525593 w 667724"/>
                  <a:gd name="connsiteY84" fmla="*/ 485444 h 667797"/>
                  <a:gd name="connsiteX85" fmla="*/ 525569 w 667724"/>
                  <a:gd name="connsiteY85" fmla="*/ 485469 h 667797"/>
                  <a:gd name="connsiteX86" fmla="*/ 523734 w 667724"/>
                  <a:gd name="connsiteY86" fmla="*/ 487766 h 667797"/>
                  <a:gd name="connsiteX87" fmla="*/ 520051 w 667724"/>
                  <a:gd name="connsiteY87" fmla="*/ 492191 h 667797"/>
                  <a:gd name="connsiteX88" fmla="*/ 519795 w 667724"/>
                  <a:gd name="connsiteY88" fmla="*/ 492495 h 667797"/>
                  <a:gd name="connsiteX89" fmla="*/ 518045 w 667724"/>
                  <a:gd name="connsiteY89" fmla="*/ 494524 h 667797"/>
                  <a:gd name="connsiteX90" fmla="*/ 516015 w 667724"/>
                  <a:gd name="connsiteY90" fmla="*/ 496822 h 667797"/>
                  <a:gd name="connsiteX91" fmla="*/ 514094 w 667724"/>
                  <a:gd name="connsiteY91" fmla="*/ 498912 h 667797"/>
                  <a:gd name="connsiteX92" fmla="*/ 510059 w 667724"/>
                  <a:gd name="connsiteY92" fmla="*/ 503215 h 667797"/>
                  <a:gd name="connsiteX93" fmla="*/ 508005 w 667724"/>
                  <a:gd name="connsiteY93" fmla="*/ 505318 h 667797"/>
                  <a:gd name="connsiteX94" fmla="*/ 505926 w 667724"/>
                  <a:gd name="connsiteY94" fmla="*/ 507409 h 667797"/>
                  <a:gd name="connsiteX95" fmla="*/ 503714 w 667724"/>
                  <a:gd name="connsiteY95" fmla="*/ 509560 h 667797"/>
                  <a:gd name="connsiteX96" fmla="*/ 501477 w 667724"/>
                  <a:gd name="connsiteY96" fmla="*/ 511688 h 667797"/>
                  <a:gd name="connsiteX97" fmla="*/ 494609 w 667724"/>
                  <a:gd name="connsiteY97" fmla="*/ 517911 h 667797"/>
                  <a:gd name="connsiteX98" fmla="*/ 492276 w 667724"/>
                  <a:gd name="connsiteY98" fmla="*/ 519929 h 667797"/>
                  <a:gd name="connsiteX99" fmla="*/ 487888 w 667724"/>
                  <a:gd name="connsiteY99" fmla="*/ 523576 h 667797"/>
                  <a:gd name="connsiteX100" fmla="*/ 479987 w 667724"/>
                  <a:gd name="connsiteY100" fmla="*/ 529726 h 667797"/>
                  <a:gd name="connsiteX101" fmla="*/ 477714 w 667724"/>
                  <a:gd name="connsiteY101" fmla="*/ 531416 h 667797"/>
                  <a:gd name="connsiteX102" fmla="*/ 472657 w 667724"/>
                  <a:gd name="connsiteY102" fmla="*/ 535001 h 667797"/>
                  <a:gd name="connsiteX103" fmla="*/ 470092 w 667724"/>
                  <a:gd name="connsiteY103" fmla="*/ 536752 h 667797"/>
                  <a:gd name="connsiteX104" fmla="*/ 464914 w 667724"/>
                  <a:gd name="connsiteY104" fmla="*/ 540143 h 667797"/>
                  <a:gd name="connsiteX105" fmla="*/ 462289 w 667724"/>
                  <a:gd name="connsiteY105" fmla="*/ 541784 h 667797"/>
                  <a:gd name="connsiteX106" fmla="*/ 455372 w 667724"/>
                  <a:gd name="connsiteY106" fmla="*/ 545905 h 667797"/>
                  <a:gd name="connsiteX107" fmla="*/ 453112 w 667724"/>
                  <a:gd name="connsiteY107" fmla="*/ 547193 h 667797"/>
                  <a:gd name="connsiteX108" fmla="*/ 451556 w 667724"/>
                  <a:gd name="connsiteY108" fmla="*/ 548056 h 667797"/>
                  <a:gd name="connsiteX109" fmla="*/ 448809 w 667724"/>
                  <a:gd name="connsiteY109" fmla="*/ 549539 h 667797"/>
                  <a:gd name="connsiteX110" fmla="*/ 446049 w 667724"/>
                  <a:gd name="connsiteY110" fmla="*/ 550986 h 667797"/>
                  <a:gd name="connsiteX111" fmla="*/ 443278 w 667724"/>
                  <a:gd name="connsiteY111" fmla="*/ 552408 h 667797"/>
                  <a:gd name="connsiteX112" fmla="*/ 428570 w 667724"/>
                  <a:gd name="connsiteY112" fmla="*/ 559178 h 667797"/>
                  <a:gd name="connsiteX113" fmla="*/ 426200 w 667724"/>
                  <a:gd name="connsiteY113" fmla="*/ 560163 h 667797"/>
                  <a:gd name="connsiteX114" fmla="*/ 423258 w 667724"/>
                  <a:gd name="connsiteY114" fmla="*/ 561354 h 667797"/>
                  <a:gd name="connsiteX115" fmla="*/ 345465 w 667724"/>
                  <a:gd name="connsiteY115" fmla="*/ 577958 h 667797"/>
                  <a:gd name="connsiteX116" fmla="*/ 345355 w 667724"/>
                  <a:gd name="connsiteY116" fmla="*/ 577958 h 667797"/>
                  <a:gd name="connsiteX117" fmla="*/ 342596 w 667724"/>
                  <a:gd name="connsiteY117" fmla="*/ 578068 h 667797"/>
                  <a:gd name="connsiteX118" fmla="*/ 339703 w 667724"/>
                  <a:gd name="connsiteY118" fmla="*/ 578153 h 667797"/>
                  <a:gd name="connsiteX119" fmla="*/ 336798 w 667724"/>
                  <a:gd name="connsiteY119" fmla="*/ 578213 h 667797"/>
                  <a:gd name="connsiteX120" fmla="*/ 333893 w 667724"/>
                  <a:gd name="connsiteY120" fmla="*/ 578226 h 667797"/>
                  <a:gd name="connsiteX121" fmla="*/ 331365 w 667724"/>
                  <a:gd name="connsiteY121" fmla="*/ 578213 h 667797"/>
                  <a:gd name="connsiteX122" fmla="*/ 329723 w 667724"/>
                  <a:gd name="connsiteY122" fmla="*/ 578189 h 667797"/>
                  <a:gd name="connsiteX123" fmla="*/ 327912 w 667724"/>
                  <a:gd name="connsiteY123" fmla="*/ 578153 h 667797"/>
                  <a:gd name="connsiteX124" fmla="*/ 324934 w 667724"/>
                  <a:gd name="connsiteY124" fmla="*/ 578068 h 667797"/>
                  <a:gd name="connsiteX125" fmla="*/ 323318 w 667724"/>
                  <a:gd name="connsiteY125" fmla="*/ 578007 h 667797"/>
                  <a:gd name="connsiteX126" fmla="*/ 321349 w 667724"/>
                  <a:gd name="connsiteY126" fmla="*/ 577922 h 667797"/>
                  <a:gd name="connsiteX127" fmla="*/ 318857 w 667724"/>
                  <a:gd name="connsiteY127" fmla="*/ 577776 h 667797"/>
                  <a:gd name="connsiteX128" fmla="*/ 314529 w 667724"/>
                  <a:gd name="connsiteY128" fmla="*/ 577484 h 667797"/>
                  <a:gd name="connsiteX129" fmla="*/ 308962 w 667724"/>
                  <a:gd name="connsiteY129" fmla="*/ 576974 h 667797"/>
                  <a:gd name="connsiteX130" fmla="*/ 306495 w 667724"/>
                  <a:gd name="connsiteY130" fmla="*/ 576718 h 667797"/>
                  <a:gd name="connsiteX131" fmla="*/ 301608 w 667724"/>
                  <a:gd name="connsiteY131" fmla="*/ 576123 h 667797"/>
                  <a:gd name="connsiteX132" fmla="*/ 296758 w 667724"/>
                  <a:gd name="connsiteY132" fmla="*/ 575430 h 667797"/>
                  <a:gd name="connsiteX133" fmla="*/ 294327 w 667724"/>
                  <a:gd name="connsiteY133" fmla="*/ 575053 h 667797"/>
                  <a:gd name="connsiteX134" fmla="*/ 287132 w 667724"/>
                  <a:gd name="connsiteY134" fmla="*/ 573777 h 667797"/>
                  <a:gd name="connsiteX135" fmla="*/ 280385 w 667724"/>
                  <a:gd name="connsiteY135" fmla="*/ 572355 h 667797"/>
                  <a:gd name="connsiteX136" fmla="*/ 267574 w 667724"/>
                  <a:gd name="connsiteY136" fmla="*/ 569121 h 667797"/>
                  <a:gd name="connsiteX137" fmla="*/ 264827 w 667724"/>
                  <a:gd name="connsiteY137" fmla="*/ 568331 h 667797"/>
                  <a:gd name="connsiteX138" fmla="*/ 262092 w 667724"/>
                  <a:gd name="connsiteY138" fmla="*/ 567517 h 667797"/>
                  <a:gd name="connsiteX139" fmla="*/ 253279 w 667724"/>
                  <a:gd name="connsiteY139" fmla="*/ 564624 h 667797"/>
                  <a:gd name="connsiteX140" fmla="*/ 251298 w 667724"/>
                  <a:gd name="connsiteY140" fmla="*/ 563919 h 667797"/>
                  <a:gd name="connsiteX141" fmla="*/ 248636 w 667724"/>
                  <a:gd name="connsiteY141" fmla="*/ 562946 h 667797"/>
                  <a:gd name="connsiteX142" fmla="*/ 246885 w 667724"/>
                  <a:gd name="connsiteY142" fmla="*/ 562278 h 667797"/>
                  <a:gd name="connsiteX143" fmla="*/ 243360 w 667724"/>
                  <a:gd name="connsiteY143" fmla="*/ 560916 h 667797"/>
                  <a:gd name="connsiteX144" fmla="*/ 238960 w 667724"/>
                  <a:gd name="connsiteY144" fmla="*/ 559105 h 667797"/>
                  <a:gd name="connsiteX145" fmla="*/ 234609 w 667724"/>
                  <a:gd name="connsiteY145" fmla="*/ 557221 h 667797"/>
                  <a:gd name="connsiteX146" fmla="*/ 230294 w 667724"/>
                  <a:gd name="connsiteY146" fmla="*/ 555252 h 667797"/>
                  <a:gd name="connsiteX147" fmla="*/ 226489 w 667724"/>
                  <a:gd name="connsiteY147" fmla="*/ 553417 h 667797"/>
                  <a:gd name="connsiteX148" fmla="*/ 225760 w 667724"/>
                  <a:gd name="connsiteY148" fmla="*/ 553064 h 667797"/>
                  <a:gd name="connsiteX149" fmla="*/ 221797 w 667724"/>
                  <a:gd name="connsiteY149" fmla="*/ 551071 h 667797"/>
                  <a:gd name="connsiteX150" fmla="*/ 217628 w 667724"/>
                  <a:gd name="connsiteY150" fmla="*/ 548858 h 667797"/>
                  <a:gd name="connsiteX151" fmla="*/ 213507 w 667724"/>
                  <a:gd name="connsiteY151" fmla="*/ 546573 h 667797"/>
                  <a:gd name="connsiteX152" fmla="*/ 209435 w 667724"/>
                  <a:gd name="connsiteY152" fmla="*/ 544215 h 667797"/>
                  <a:gd name="connsiteX153" fmla="*/ 205400 w 667724"/>
                  <a:gd name="connsiteY153" fmla="*/ 541760 h 667797"/>
                  <a:gd name="connsiteX154" fmla="*/ 201425 w 667724"/>
                  <a:gd name="connsiteY154" fmla="*/ 539244 h 667797"/>
                  <a:gd name="connsiteX155" fmla="*/ 197511 w 667724"/>
                  <a:gd name="connsiteY155" fmla="*/ 536667 h 667797"/>
                  <a:gd name="connsiteX156" fmla="*/ 189829 w 667724"/>
                  <a:gd name="connsiteY156" fmla="*/ 531282 h 667797"/>
                  <a:gd name="connsiteX157" fmla="*/ 182645 w 667724"/>
                  <a:gd name="connsiteY157" fmla="*/ 525824 h 667797"/>
                  <a:gd name="connsiteX158" fmla="*/ 179776 w 667724"/>
                  <a:gd name="connsiteY158" fmla="*/ 523515 h 667797"/>
                  <a:gd name="connsiteX159" fmla="*/ 177916 w 667724"/>
                  <a:gd name="connsiteY159" fmla="*/ 521983 h 667797"/>
                  <a:gd name="connsiteX160" fmla="*/ 176981 w 667724"/>
                  <a:gd name="connsiteY160" fmla="*/ 521205 h 667797"/>
                  <a:gd name="connsiteX161" fmla="*/ 174829 w 667724"/>
                  <a:gd name="connsiteY161" fmla="*/ 519382 h 667797"/>
                  <a:gd name="connsiteX162" fmla="*/ 170538 w 667724"/>
                  <a:gd name="connsiteY162" fmla="*/ 515614 h 667797"/>
                  <a:gd name="connsiteX163" fmla="*/ 168411 w 667724"/>
                  <a:gd name="connsiteY163" fmla="*/ 513657 h 667797"/>
                  <a:gd name="connsiteX164" fmla="*/ 165944 w 667724"/>
                  <a:gd name="connsiteY164" fmla="*/ 511372 h 667797"/>
                  <a:gd name="connsiteX165" fmla="*/ 162394 w 667724"/>
                  <a:gd name="connsiteY165" fmla="*/ 507956 h 667797"/>
                  <a:gd name="connsiteX166" fmla="*/ 160304 w 667724"/>
                  <a:gd name="connsiteY166" fmla="*/ 505865 h 667797"/>
                  <a:gd name="connsiteX167" fmla="*/ 158432 w 667724"/>
                  <a:gd name="connsiteY167" fmla="*/ 503945 h 667797"/>
                  <a:gd name="connsiteX168" fmla="*/ 155441 w 667724"/>
                  <a:gd name="connsiteY168" fmla="*/ 500809 h 667797"/>
                  <a:gd name="connsiteX169" fmla="*/ 153156 w 667724"/>
                  <a:gd name="connsiteY169" fmla="*/ 498341 h 667797"/>
                  <a:gd name="connsiteX170" fmla="*/ 151138 w 667724"/>
                  <a:gd name="connsiteY170" fmla="*/ 496092 h 667797"/>
                  <a:gd name="connsiteX171" fmla="*/ 148258 w 667724"/>
                  <a:gd name="connsiteY171" fmla="*/ 492786 h 667797"/>
                  <a:gd name="connsiteX172" fmla="*/ 146337 w 667724"/>
                  <a:gd name="connsiteY172" fmla="*/ 490525 h 667797"/>
                  <a:gd name="connsiteX173" fmla="*/ 142581 w 667724"/>
                  <a:gd name="connsiteY173" fmla="*/ 485918 h 667797"/>
                  <a:gd name="connsiteX174" fmla="*/ 141135 w 667724"/>
                  <a:gd name="connsiteY174" fmla="*/ 484107 h 667797"/>
                  <a:gd name="connsiteX175" fmla="*/ 139956 w 667724"/>
                  <a:gd name="connsiteY175" fmla="*/ 482564 h 667797"/>
                  <a:gd name="connsiteX176" fmla="*/ 137950 w 667724"/>
                  <a:gd name="connsiteY176" fmla="*/ 479938 h 667797"/>
                  <a:gd name="connsiteX177" fmla="*/ 134632 w 667724"/>
                  <a:gd name="connsiteY177" fmla="*/ 475380 h 667797"/>
                  <a:gd name="connsiteX178" fmla="*/ 132310 w 667724"/>
                  <a:gd name="connsiteY178" fmla="*/ 472062 h 667797"/>
                  <a:gd name="connsiteX179" fmla="*/ 131872 w 667724"/>
                  <a:gd name="connsiteY179" fmla="*/ 471429 h 667797"/>
                  <a:gd name="connsiteX180" fmla="*/ 130329 w 667724"/>
                  <a:gd name="connsiteY180" fmla="*/ 469144 h 667797"/>
                  <a:gd name="connsiteX181" fmla="*/ 127776 w 667724"/>
                  <a:gd name="connsiteY181" fmla="*/ 465230 h 667797"/>
                  <a:gd name="connsiteX182" fmla="*/ 125065 w 667724"/>
                  <a:gd name="connsiteY182" fmla="*/ 460891 h 667797"/>
                  <a:gd name="connsiteX183" fmla="*/ 123145 w 667724"/>
                  <a:gd name="connsiteY183" fmla="*/ 457694 h 667797"/>
                  <a:gd name="connsiteX184" fmla="*/ 121893 w 667724"/>
                  <a:gd name="connsiteY184" fmla="*/ 455543 h 667797"/>
                  <a:gd name="connsiteX185" fmla="*/ 119510 w 667724"/>
                  <a:gd name="connsiteY185" fmla="*/ 451313 h 667797"/>
                  <a:gd name="connsiteX186" fmla="*/ 117930 w 667724"/>
                  <a:gd name="connsiteY186" fmla="*/ 448359 h 667797"/>
                  <a:gd name="connsiteX187" fmla="*/ 116703 w 667724"/>
                  <a:gd name="connsiteY187" fmla="*/ 446025 h 667797"/>
                  <a:gd name="connsiteX188" fmla="*/ 115341 w 667724"/>
                  <a:gd name="connsiteY188" fmla="*/ 443375 h 667797"/>
                  <a:gd name="connsiteX189" fmla="*/ 114016 w 667724"/>
                  <a:gd name="connsiteY189" fmla="*/ 440677 h 667797"/>
                  <a:gd name="connsiteX190" fmla="*/ 111464 w 667724"/>
                  <a:gd name="connsiteY190" fmla="*/ 435255 h 667797"/>
                  <a:gd name="connsiteX191" fmla="*/ 109020 w 667724"/>
                  <a:gd name="connsiteY191" fmla="*/ 429761 h 667797"/>
                  <a:gd name="connsiteX192" fmla="*/ 107927 w 667724"/>
                  <a:gd name="connsiteY192" fmla="*/ 427136 h 667797"/>
                  <a:gd name="connsiteX193" fmla="*/ 107793 w 667724"/>
                  <a:gd name="connsiteY193" fmla="*/ 426832 h 667797"/>
                  <a:gd name="connsiteX194" fmla="*/ 106699 w 667724"/>
                  <a:gd name="connsiteY194" fmla="*/ 424109 h 667797"/>
                  <a:gd name="connsiteX195" fmla="*/ 105532 w 667724"/>
                  <a:gd name="connsiteY195" fmla="*/ 421143 h 667797"/>
                  <a:gd name="connsiteX196" fmla="*/ 104450 w 667724"/>
                  <a:gd name="connsiteY196" fmla="*/ 418238 h 667797"/>
                  <a:gd name="connsiteX197" fmla="*/ 103393 w 667724"/>
                  <a:gd name="connsiteY197" fmla="*/ 415321 h 667797"/>
                  <a:gd name="connsiteX198" fmla="*/ 102372 w 667724"/>
                  <a:gd name="connsiteY198" fmla="*/ 412379 h 667797"/>
                  <a:gd name="connsiteX199" fmla="*/ 101387 w 667724"/>
                  <a:gd name="connsiteY199" fmla="*/ 409413 h 667797"/>
                  <a:gd name="connsiteX200" fmla="*/ 100427 w 667724"/>
                  <a:gd name="connsiteY200" fmla="*/ 406435 h 667797"/>
                  <a:gd name="connsiteX201" fmla="*/ 99138 w 667724"/>
                  <a:gd name="connsiteY201" fmla="*/ 402120 h 667797"/>
                  <a:gd name="connsiteX202" fmla="*/ 97923 w 667724"/>
                  <a:gd name="connsiteY202" fmla="*/ 397769 h 667797"/>
                  <a:gd name="connsiteX203" fmla="*/ 96768 w 667724"/>
                  <a:gd name="connsiteY203" fmla="*/ 393393 h 667797"/>
                  <a:gd name="connsiteX204" fmla="*/ 95577 w 667724"/>
                  <a:gd name="connsiteY204" fmla="*/ 388409 h 667797"/>
                  <a:gd name="connsiteX205" fmla="*/ 94811 w 667724"/>
                  <a:gd name="connsiteY205" fmla="*/ 384933 h 667797"/>
                  <a:gd name="connsiteX206" fmla="*/ 94653 w 667724"/>
                  <a:gd name="connsiteY206" fmla="*/ 384179 h 667797"/>
                  <a:gd name="connsiteX207" fmla="*/ 93826 w 667724"/>
                  <a:gd name="connsiteY207" fmla="*/ 380046 h 667797"/>
                  <a:gd name="connsiteX208" fmla="*/ 93012 w 667724"/>
                  <a:gd name="connsiteY208" fmla="*/ 375537 h 667797"/>
                  <a:gd name="connsiteX209" fmla="*/ 92161 w 667724"/>
                  <a:gd name="connsiteY209" fmla="*/ 370237 h 667797"/>
                  <a:gd name="connsiteX210" fmla="*/ 91675 w 667724"/>
                  <a:gd name="connsiteY210" fmla="*/ 366846 h 667797"/>
                  <a:gd name="connsiteX211" fmla="*/ 91237 w 667724"/>
                  <a:gd name="connsiteY211" fmla="*/ 363394 h 667797"/>
                  <a:gd name="connsiteX212" fmla="*/ 90946 w 667724"/>
                  <a:gd name="connsiteY212" fmla="*/ 360817 h 667797"/>
                  <a:gd name="connsiteX213" fmla="*/ 90581 w 667724"/>
                  <a:gd name="connsiteY213" fmla="*/ 357255 h 667797"/>
                  <a:gd name="connsiteX214" fmla="*/ 89949 w 667724"/>
                  <a:gd name="connsiteY214" fmla="*/ 349123 h 667797"/>
                  <a:gd name="connsiteX215" fmla="*/ 89937 w 667724"/>
                  <a:gd name="connsiteY215" fmla="*/ 348868 h 667797"/>
                  <a:gd name="connsiteX216" fmla="*/ 89779 w 667724"/>
                  <a:gd name="connsiteY216" fmla="*/ 346109 h 667797"/>
                  <a:gd name="connsiteX217" fmla="*/ 89706 w 667724"/>
                  <a:gd name="connsiteY217" fmla="*/ 344371 h 667797"/>
                  <a:gd name="connsiteX218" fmla="*/ 89645 w 667724"/>
                  <a:gd name="connsiteY218" fmla="*/ 342742 h 667797"/>
                  <a:gd name="connsiteX219" fmla="*/ 89536 w 667724"/>
                  <a:gd name="connsiteY219" fmla="*/ 338560 h 667797"/>
                  <a:gd name="connsiteX220" fmla="*/ 89487 w 667724"/>
                  <a:gd name="connsiteY220" fmla="*/ 333832 h 667797"/>
                  <a:gd name="connsiteX221" fmla="*/ 89499 w 667724"/>
                  <a:gd name="connsiteY221" fmla="*/ 331024 h 667797"/>
                  <a:gd name="connsiteX222" fmla="*/ 89548 w 667724"/>
                  <a:gd name="connsiteY222" fmla="*/ 328228 h 667797"/>
                  <a:gd name="connsiteX223" fmla="*/ 89767 w 667724"/>
                  <a:gd name="connsiteY223" fmla="*/ 322345 h 667797"/>
                  <a:gd name="connsiteX224" fmla="*/ 89925 w 667724"/>
                  <a:gd name="connsiteY224" fmla="*/ 319404 h 667797"/>
                  <a:gd name="connsiteX225" fmla="*/ 90338 w 667724"/>
                  <a:gd name="connsiteY225" fmla="*/ 313569 h 667797"/>
                  <a:gd name="connsiteX226" fmla="*/ 90678 w 667724"/>
                  <a:gd name="connsiteY226" fmla="*/ 309801 h 667797"/>
                  <a:gd name="connsiteX227" fmla="*/ 91201 w 667724"/>
                  <a:gd name="connsiteY227" fmla="*/ 304890 h 667797"/>
                  <a:gd name="connsiteX228" fmla="*/ 91517 w 667724"/>
                  <a:gd name="connsiteY228" fmla="*/ 302301 h 667797"/>
                  <a:gd name="connsiteX229" fmla="*/ 92246 w 667724"/>
                  <a:gd name="connsiteY229" fmla="*/ 297135 h 667797"/>
                  <a:gd name="connsiteX230" fmla="*/ 93073 w 667724"/>
                  <a:gd name="connsiteY230" fmla="*/ 291994 h 667797"/>
                  <a:gd name="connsiteX231" fmla="*/ 94009 w 667724"/>
                  <a:gd name="connsiteY231" fmla="*/ 286901 h 667797"/>
                  <a:gd name="connsiteX232" fmla="*/ 96197 w 667724"/>
                  <a:gd name="connsiteY232" fmla="*/ 276812 h 667797"/>
                  <a:gd name="connsiteX233" fmla="*/ 96804 w 667724"/>
                  <a:gd name="connsiteY233" fmla="*/ 274308 h 667797"/>
                  <a:gd name="connsiteX234" fmla="*/ 97437 w 667724"/>
                  <a:gd name="connsiteY234" fmla="*/ 271828 h 667797"/>
                  <a:gd name="connsiteX235" fmla="*/ 98105 w 667724"/>
                  <a:gd name="connsiteY235" fmla="*/ 269348 h 667797"/>
                  <a:gd name="connsiteX236" fmla="*/ 98786 w 667724"/>
                  <a:gd name="connsiteY236" fmla="*/ 266869 h 667797"/>
                  <a:gd name="connsiteX237" fmla="*/ 99503 w 667724"/>
                  <a:gd name="connsiteY237" fmla="*/ 264413 h 667797"/>
                  <a:gd name="connsiteX238" fmla="*/ 100998 w 667724"/>
                  <a:gd name="connsiteY238" fmla="*/ 259539 h 667797"/>
                  <a:gd name="connsiteX239" fmla="*/ 102603 w 667724"/>
                  <a:gd name="connsiteY239" fmla="*/ 254701 h 667797"/>
                  <a:gd name="connsiteX240" fmla="*/ 104292 w 667724"/>
                  <a:gd name="connsiteY240" fmla="*/ 249912 h 667797"/>
                  <a:gd name="connsiteX241" fmla="*/ 107720 w 667724"/>
                  <a:gd name="connsiteY241" fmla="*/ 241063 h 667797"/>
                  <a:gd name="connsiteX242" fmla="*/ 107999 w 667724"/>
                  <a:gd name="connsiteY242" fmla="*/ 240370 h 667797"/>
                  <a:gd name="connsiteX243" fmla="*/ 109944 w 667724"/>
                  <a:gd name="connsiteY243" fmla="*/ 235824 h 667797"/>
                  <a:gd name="connsiteX244" fmla="*/ 114174 w 667724"/>
                  <a:gd name="connsiteY244" fmla="*/ 226683 h 667797"/>
                  <a:gd name="connsiteX245" fmla="*/ 115682 w 667724"/>
                  <a:gd name="connsiteY245" fmla="*/ 223681 h 667797"/>
                  <a:gd name="connsiteX246" fmla="*/ 117213 w 667724"/>
                  <a:gd name="connsiteY246" fmla="*/ 220691 h 667797"/>
                  <a:gd name="connsiteX247" fmla="*/ 118781 w 667724"/>
                  <a:gd name="connsiteY247" fmla="*/ 217737 h 667797"/>
                  <a:gd name="connsiteX248" fmla="*/ 120276 w 667724"/>
                  <a:gd name="connsiteY248" fmla="*/ 215002 h 667797"/>
                  <a:gd name="connsiteX249" fmla="*/ 122039 w 667724"/>
                  <a:gd name="connsiteY249" fmla="*/ 211903 h 667797"/>
                  <a:gd name="connsiteX250" fmla="*/ 123984 w 667724"/>
                  <a:gd name="connsiteY250" fmla="*/ 208596 h 667797"/>
                  <a:gd name="connsiteX251" fmla="*/ 125454 w 667724"/>
                  <a:gd name="connsiteY251" fmla="*/ 206165 h 667797"/>
                  <a:gd name="connsiteX252" fmla="*/ 127217 w 667724"/>
                  <a:gd name="connsiteY252" fmla="*/ 203333 h 667797"/>
                  <a:gd name="connsiteX253" fmla="*/ 131471 w 667724"/>
                  <a:gd name="connsiteY253" fmla="*/ 196842 h 667797"/>
                  <a:gd name="connsiteX254" fmla="*/ 133526 w 667724"/>
                  <a:gd name="connsiteY254" fmla="*/ 193864 h 667797"/>
                  <a:gd name="connsiteX255" fmla="*/ 135726 w 667724"/>
                  <a:gd name="connsiteY255" fmla="*/ 190777 h 667797"/>
                  <a:gd name="connsiteX256" fmla="*/ 137974 w 667724"/>
                  <a:gd name="connsiteY256" fmla="*/ 187726 h 667797"/>
                  <a:gd name="connsiteX257" fmla="*/ 139640 w 667724"/>
                  <a:gd name="connsiteY257" fmla="*/ 185526 h 667797"/>
                  <a:gd name="connsiteX258" fmla="*/ 142605 w 667724"/>
                  <a:gd name="connsiteY258" fmla="*/ 181721 h 667797"/>
                  <a:gd name="connsiteX259" fmla="*/ 144988 w 667724"/>
                  <a:gd name="connsiteY259" fmla="*/ 178767 h 667797"/>
                  <a:gd name="connsiteX260" fmla="*/ 152378 w 667724"/>
                  <a:gd name="connsiteY260" fmla="*/ 170174 h 667797"/>
                  <a:gd name="connsiteX261" fmla="*/ 154943 w 667724"/>
                  <a:gd name="connsiteY261" fmla="*/ 167378 h 667797"/>
                  <a:gd name="connsiteX262" fmla="*/ 157532 w 667724"/>
                  <a:gd name="connsiteY262" fmla="*/ 164631 h 667797"/>
                  <a:gd name="connsiteX263" fmla="*/ 160158 w 667724"/>
                  <a:gd name="connsiteY263" fmla="*/ 161920 h 667797"/>
                  <a:gd name="connsiteX264" fmla="*/ 164923 w 667724"/>
                  <a:gd name="connsiteY264" fmla="*/ 157240 h 667797"/>
                  <a:gd name="connsiteX265" fmla="*/ 166418 w 667724"/>
                  <a:gd name="connsiteY265" fmla="*/ 155830 h 667797"/>
                  <a:gd name="connsiteX266" fmla="*/ 168338 w 667724"/>
                  <a:gd name="connsiteY266" fmla="*/ 154044 h 667797"/>
                  <a:gd name="connsiteX267" fmla="*/ 170866 w 667724"/>
                  <a:gd name="connsiteY267" fmla="*/ 151746 h 667797"/>
                  <a:gd name="connsiteX268" fmla="*/ 176847 w 667724"/>
                  <a:gd name="connsiteY268" fmla="*/ 146556 h 667797"/>
                  <a:gd name="connsiteX269" fmla="*/ 179752 w 667724"/>
                  <a:gd name="connsiteY269" fmla="*/ 144149 h 667797"/>
                  <a:gd name="connsiteX270" fmla="*/ 183180 w 667724"/>
                  <a:gd name="connsiteY270" fmla="*/ 141390 h 667797"/>
                  <a:gd name="connsiteX271" fmla="*/ 185258 w 667724"/>
                  <a:gd name="connsiteY271" fmla="*/ 139785 h 667797"/>
                  <a:gd name="connsiteX272" fmla="*/ 201364 w 667724"/>
                  <a:gd name="connsiteY272" fmla="*/ 128408 h 667797"/>
                  <a:gd name="connsiteX273" fmla="*/ 204378 w 667724"/>
                  <a:gd name="connsiteY273" fmla="*/ 126512 h 667797"/>
                  <a:gd name="connsiteX274" fmla="*/ 206858 w 667724"/>
                  <a:gd name="connsiteY274" fmla="*/ 124980 h 667797"/>
                  <a:gd name="connsiteX275" fmla="*/ 208657 w 667724"/>
                  <a:gd name="connsiteY275" fmla="*/ 123886 h 667797"/>
                  <a:gd name="connsiteX276" fmla="*/ 214188 w 667724"/>
                  <a:gd name="connsiteY276" fmla="*/ 120677 h 667797"/>
                  <a:gd name="connsiteX277" fmla="*/ 217518 w 667724"/>
                  <a:gd name="connsiteY277" fmla="*/ 118842 h 667797"/>
                  <a:gd name="connsiteX278" fmla="*/ 220885 w 667724"/>
                  <a:gd name="connsiteY278" fmla="*/ 117043 h 667797"/>
                  <a:gd name="connsiteX279" fmla="*/ 226987 w 667724"/>
                  <a:gd name="connsiteY279" fmla="*/ 113968 h 667797"/>
                  <a:gd name="connsiteX280" fmla="*/ 231533 w 667724"/>
                  <a:gd name="connsiteY280" fmla="*/ 111816 h 667797"/>
                  <a:gd name="connsiteX281" fmla="*/ 234645 w 667724"/>
                  <a:gd name="connsiteY281" fmla="*/ 110394 h 667797"/>
                  <a:gd name="connsiteX282" fmla="*/ 238158 w 667724"/>
                  <a:gd name="connsiteY282" fmla="*/ 108862 h 667797"/>
                  <a:gd name="connsiteX283" fmla="*/ 242376 w 667724"/>
                  <a:gd name="connsiteY283" fmla="*/ 107112 h 667797"/>
                  <a:gd name="connsiteX284" fmla="*/ 245281 w 667724"/>
                  <a:gd name="connsiteY284" fmla="*/ 105957 h 667797"/>
                  <a:gd name="connsiteX285" fmla="*/ 252489 w 667724"/>
                  <a:gd name="connsiteY285" fmla="*/ 103271 h 667797"/>
                  <a:gd name="connsiteX286" fmla="*/ 255139 w 667724"/>
                  <a:gd name="connsiteY286" fmla="*/ 102347 h 667797"/>
                  <a:gd name="connsiteX287" fmla="*/ 257716 w 667724"/>
                  <a:gd name="connsiteY287" fmla="*/ 101496 h 667797"/>
                  <a:gd name="connsiteX288" fmla="*/ 259855 w 667724"/>
                  <a:gd name="connsiteY288" fmla="*/ 100791 h 667797"/>
                  <a:gd name="connsiteX289" fmla="*/ 262651 w 667724"/>
                  <a:gd name="connsiteY289" fmla="*/ 99928 h 667797"/>
                  <a:gd name="connsiteX290" fmla="*/ 267841 w 667724"/>
                  <a:gd name="connsiteY290" fmla="*/ 98409 h 667797"/>
                  <a:gd name="connsiteX291" fmla="*/ 270916 w 667724"/>
                  <a:gd name="connsiteY291" fmla="*/ 97582 h 667797"/>
                  <a:gd name="connsiteX292" fmla="*/ 271087 w 667724"/>
                  <a:gd name="connsiteY292" fmla="*/ 97534 h 667797"/>
                  <a:gd name="connsiteX293" fmla="*/ 274757 w 667724"/>
                  <a:gd name="connsiteY293" fmla="*/ 96586 h 667797"/>
                  <a:gd name="connsiteX294" fmla="*/ 277371 w 667724"/>
                  <a:gd name="connsiteY294" fmla="*/ 95954 h 667797"/>
                  <a:gd name="connsiteX295" fmla="*/ 278319 w 667724"/>
                  <a:gd name="connsiteY295" fmla="*/ 95735 h 667797"/>
                  <a:gd name="connsiteX296" fmla="*/ 281115 w 667724"/>
                  <a:gd name="connsiteY296" fmla="*/ 95103 h 667797"/>
                  <a:gd name="connsiteX297" fmla="*/ 281346 w 667724"/>
                  <a:gd name="connsiteY297" fmla="*/ 95054 h 667797"/>
                  <a:gd name="connsiteX298" fmla="*/ 284105 w 667724"/>
                  <a:gd name="connsiteY298" fmla="*/ 94471 h 667797"/>
                  <a:gd name="connsiteX299" fmla="*/ 284494 w 667724"/>
                  <a:gd name="connsiteY299" fmla="*/ 94398 h 667797"/>
                  <a:gd name="connsiteX300" fmla="*/ 287302 w 667724"/>
                  <a:gd name="connsiteY300" fmla="*/ 93839 h 667797"/>
                  <a:gd name="connsiteX301" fmla="*/ 290097 w 667724"/>
                  <a:gd name="connsiteY301" fmla="*/ 93316 h 667797"/>
                  <a:gd name="connsiteX302" fmla="*/ 293367 w 667724"/>
                  <a:gd name="connsiteY302" fmla="*/ 92745 h 667797"/>
                  <a:gd name="connsiteX303" fmla="*/ 294485 w 667724"/>
                  <a:gd name="connsiteY303" fmla="*/ 92562 h 667797"/>
                  <a:gd name="connsiteX304" fmla="*/ 297755 w 667724"/>
                  <a:gd name="connsiteY304" fmla="*/ 92064 h 667797"/>
                  <a:gd name="connsiteX305" fmla="*/ 298071 w 667724"/>
                  <a:gd name="connsiteY305" fmla="*/ 92015 h 667797"/>
                  <a:gd name="connsiteX306" fmla="*/ 301815 w 667724"/>
                  <a:gd name="connsiteY306" fmla="*/ 91493 h 667797"/>
                  <a:gd name="connsiteX307" fmla="*/ 305644 w 667724"/>
                  <a:gd name="connsiteY307" fmla="*/ 91019 h 667797"/>
                  <a:gd name="connsiteX308" fmla="*/ 305778 w 667724"/>
                  <a:gd name="connsiteY308" fmla="*/ 91006 h 667797"/>
                  <a:gd name="connsiteX309" fmla="*/ 309740 w 667724"/>
                  <a:gd name="connsiteY309" fmla="*/ 90581 h 667797"/>
                  <a:gd name="connsiteX310" fmla="*/ 312597 w 667724"/>
                  <a:gd name="connsiteY310" fmla="*/ 90314 h 667797"/>
                  <a:gd name="connsiteX311" fmla="*/ 314967 w 667724"/>
                  <a:gd name="connsiteY311" fmla="*/ 90119 h 667797"/>
                  <a:gd name="connsiteX312" fmla="*/ 326381 w 667724"/>
                  <a:gd name="connsiteY312" fmla="*/ 89511 h 667797"/>
                  <a:gd name="connsiteX313" fmla="*/ 329578 w 667724"/>
                  <a:gd name="connsiteY313" fmla="*/ 89438 h 667797"/>
                  <a:gd name="connsiteX314" fmla="*/ 333917 w 667724"/>
                  <a:gd name="connsiteY314" fmla="*/ 89402 h 667797"/>
                  <a:gd name="connsiteX315" fmla="*/ 345501 w 667724"/>
                  <a:gd name="connsiteY315" fmla="*/ 89681 h 667797"/>
                  <a:gd name="connsiteX316" fmla="*/ 423295 w 667724"/>
                  <a:gd name="connsiteY316" fmla="*/ 106286 h 667797"/>
                  <a:gd name="connsiteX317" fmla="*/ 426236 w 667724"/>
                  <a:gd name="connsiteY317" fmla="*/ 107477 h 667797"/>
                  <a:gd name="connsiteX318" fmla="*/ 428607 w 667724"/>
                  <a:gd name="connsiteY318" fmla="*/ 108461 h 667797"/>
                  <a:gd name="connsiteX319" fmla="*/ 431986 w 667724"/>
                  <a:gd name="connsiteY319" fmla="*/ 109908 h 667797"/>
                  <a:gd name="connsiteX320" fmla="*/ 435413 w 667724"/>
                  <a:gd name="connsiteY320" fmla="*/ 111452 h 667797"/>
                  <a:gd name="connsiteX321" fmla="*/ 443302 w 667724"/>
                  <a:gd name="connsiteY321" fmla="*/ 115232 h 667797"/>
                  <a:gd name="connsiteX322" fmla="*/ 446074 w 667724"/>
                  <a:gd name="connsiteY322" fmla="*/ 116654 h 667797"/>
                  <a:gd name="connsiteX323" fmla="*/ 448833 w 667724"/>
                  <a:gd name="connsiteY323" fmla="*/ 118100 h 667797"/>
                  <a:gd name="connsiteX324" fmla="*/ 452078 w 667724"/>
                  <a:gd name="connsiteY324" fmla="*/ 119863 h 667797"/>
                  <a:gd name="connsiteX325" fmla="*/ 455555 w 667724"/>
                  <a:gd name="connsiteY325" fmla="*/ 121832 h 667797"/>
                  <a:gd name="connsiteX326" fmla="*/ 486417 w 667724"/>
                  <a:gd name="connsiteY326" fmla="*/ 142873 h 667797"/>
                  <a:gd name="connsiteX327" fmla="*/ 488508 w 667724"/>
                  <a:gd name="connsiteY327" fmla="*/ 144575 h 667797"/>
                  <a:gd name="connsiteX328" fmla="*/ 492312 w 667724"/>
                  <a:gd name="connsiteY328" fmla="*/ 147735 h 667797"/>
                  <a:gd name="connsiteX329" fmla="*/ 494646 w 667724"/>
                  <a:gd name="connsiteY329" fmla="*/ 149753 h 667797"/>
                  <a:gd name="connsiteX330" fmla="*/ 496956 w 667724"/>
                  <a:gd name="connsiteY330" fmla="*/ 151795 h 667797"/>
                  <a:gd name="connsiteX331" fmla="*/ 501538 w 667724"/>
                  <a:gd name="connsiteY331" fmla="*/ 156013 h 667797"/>
                  <a:gd name="connsiteX332" fmla="*/ 503750 w 667724"/>
                  <a:gd name="connsiteY332" fmla="*/ 158116 h 667797"/>
                  <a:gd name="connsiteX333" fmla="*/ 505963 w 667724"/>
                  <a:gd name="connsiteY333" fmla="*/ 160267 h 667797"/>
                  <a:gd name="connsiteX334" fmla="*/ 508041 w 667724"/>
                  <a:gd name="connsiteY334" fmla="*/ 162358 h 667797"/>
                  <a:gd name="connsiteX335" fmla="*/ 510095 w 667724"/>
                  <a:gd name="connsiteY335" fmla="*/ 164461 h 667797"/>
                  <a:gd name="connsiteX336" fmla="*/ 515589 w 667724"/>
                  <a:gd name="connsiteY336" fmla="*/ 170344 h 667797"/>
                  <a:gd name="connsiteX337" fmla="*/ 518081 w 667724"/>
                  <a:gd name="connsiteY337" fmla="*/ 173152 h 667797"/>
                  <a:gd name="connsiteX338" fmla="*/ 518701 w 667724"/>
                  <a:gd name="connsiteY338" fmla="*/ 173881 h 667797"/>
                  <a:gd name="connsiteX339" fmla="*/ 520573 w 667724"/>
                  <a:gd name="connsiteY339" fmla="*/ 176081 h 667797"/>
                  <a:gd name="connsiteX340" fmla="*/ 521886 w 667724"/>
                  <a:gd name="connsiteY340" fmla="*/ 177649 h 667797"/>
                  <a:gd name="connsiteX341" fmla="*/ 537761 w 667724"/>
                  <a:gd name="connsiteY341" fmla="*/ 198969 h 667797"/>
                  <a:gd name="connsiteX342" fmla="*/ 539839 w 667724"/>
                  <a:gd name="connsiteY342" fmla="*/ 202178 h 667797"/>
                  <a:gd name="connsiteX343" fmla="*/ 544215 w 667724"/>
                  <a:gd name="connsiteY343" fmla="*/ 209277 h 667797"/>
                  <a:gd name="connsiteX344" fmla="*/ 545552 w 667724"/>
                  <a:gd name="connsiteY344" fmla="*/ 211574 h 667797"/>
                  <a:gd name="connsiteX345" fmla="*/ 548579 w 667724"/>
                  <a:gd name="connsiteY345" fmla="*/ 216935 h 667797"/>
                  <a:gd name="connsiteX346" fmla="*/ 549880 w 667724"/>
                  <a:gd name="connsiteY346" fmla="*/ 219366 h 667797"/>
                  <a:gd name="connsiteX347" fmla="*/ 552335 w 667724"/>
                  <a:gd name="connsiteY347" fmla="*/ 224106 h 667797"/>
                  <a:gd name="connsiteX348" fmla="*/ 554316 w 667724"/>
                  <a:gd name="connsiteY348" fmla="*/ 228142 h 667797"/>
                  <a:gd name="connsiteX349" fmla="*/ 555228 w 667724"/>
                  <a:gd name="connsiteY349" fmla="*/ 230026 h 667797"/>
                  <a:gd name="connsiteX350" fmla="*/ 556480 w 667724"/>
                  <a:gd name="connsiteY350" fmla="*/ 232737 h 667797"/>
                  <a:gd name="connsiteX351" fmla="*/ 557695 w 667724"/>
                  <a:gd name="connsiteY351" fmla="*/ 235447 h 667797"/>
                  <a:gd name="connsiteX352" fmla="*/ 557732 w 667724"/>
                  <a:gd name="connsiteY352" fmla="*/ 235532 h 667797"/>
                  <a:gd name="connsiteX353" fmla="*/ 560041 w 667724"/>
                  <a:gd name="connsiteY353" fmla="*/ 240966 h 667797"/>
                  <a:gd name="connsiteX354" fmla="*/ 561160 w 667724"/>
                  <a:gd name="connsiteY354" fmla="*/ 243749 h 667797"/>
                  <a:gd name="connsiteX355" fmla="*/ 562254 w 667724"/>
                  <a:gd name="connsiteY355" fmla="*/ 246545 h 667797"/>
                  <a:gd name="connsiteX356" fmla="*/ 563299 w 667724"/>
                  <a:gd name="connsiteY356" fmla="*/ 249353 h 667797"/>
                  <a:gd name="connsiteX357" fmla="*/ 564320 w 667724"/>
                  <a:gd name="connsiteY357" fmla="*/ 252185 h 667797"/>
                  <a:gd name="connsiteX358" fmla="*/ 565779 w 667724"/>
                  <a:gd name="connsiteY358" fmla="*/ 256415 h 667797"/>
                  <a:gd name="connsiteX359" fmla="*/ 566739 w 667724"/>
                  <a:gd name="connsiteY359" fmla="*/ 259332 h 667797"/>
                  <a:gd name="connsiteX360" fmla="*/ 567590 w 667724"/>
                  <a:gd name="connsiteY360" fmla="*/ 262079 h 667797"/>
                  <a:gd name="connsiteX361" fmla="*/ 568769 w 667724"/>
                  <a:gd name="connsiteY361" fmla="*/ 266018 h 667797"/>
                  <a:gd name="connsiteX362" fmla="*/ 569060 w 667724"/>
                  <a:gd name="connsiteY362" fmla="*/ 267027 h 667797"/>
                  <a:gd name="connsiteX363" fmla="*/ 569741 w 667724"/>
                  <a:gd name="connsiteY363" fmla="*/ 269494 h 667797"/>
                  <a:gd name="connsiteX364" fmla="*/ 571273 w 667724"/>
                  <a:gd name="connsiteY364" fmla="*/ 275377 h 667797"/>
                  <a:gd name="connsiteX365" fmla="*/ 572646 w 667724"/>
                  <a:gd name="connsiteY365" fmla="*/ 281309 h 667797"/>
                  <a:gd name="connsiteX366" fmla="*/ 573291 w 667724"/>
                  <a:gd name="connsiteY366" fmla="*/ 284311 h 667797"/>
                  <a:gd name="connsiteX367" fmla="*/ 573886 w 667724"/>
                  <a:gd name="connsiteY367" fmla="*/ 287314 h 667797"/>
                  <a:gd name="connsiteX368" fmla="*/ 574445 w 667724"/>
                  <a:gd name="connsiteY368" fmla="*/ 290340 h 667797"/>
                  <a:gd name="connsiteX369" fmla="*/ 574956 w 667724"/>
                  <a:gd name="connsiteY369" fmla="*/ 293246 h 667797"/>
                  <a:gd name="connsiteX370" fmla="*/ 574992 w 667724"/>
                  <a:gd name="connsiteY370" fmla="*/ 293501 h 667797"/>
                  <a:gd name="connsiteX371" fmla="*/ 575454 w 667724"/>
                  <a:gd name="connsiteY371" fmla="*/ 296406 h 667797"/>
                  <a:gd name="connsiteX372" fmla="*/ 575904 w 667724"/>
                  <a:gd name="connsiteY372" fmla="*/ 299457 h 667797"/>
                  <a:gd name="connsiteX373" fmla="*/ 576317 w 667724"/>
                  <a:gd name="connsiteY373" fmla="*/ 302532 h 667797"/>
                  <a:gd name="connsiteX374" fmla="*/ 577034 w 667724"/>
                  <a:gd name="connsiteY374" fmla="*/ 308695 h 667797"/>
                  <a:gd name="connsiteX375" fmla="*/ 577326 w 667724"/>
                  <a:gd name="connsiteY375" fmla="*/ 311794 h 667797"/>
                  <a:gd name="connsiteX376" fmla="*/ 577788 w 667724"/>
                  <a:gd name="connsiteY376" fmla="*/ 317605 h 667797"/>
                  <a:gd name="connsiteX377" fmla="*/ 577812 w 667724"/>
                  <a:gd name="connsiteY377" fmla="*/ 318152 h 667797"/>
                  <a:gd name="connsiteX378" fmla="*/ 577970 w 667724"/>
                  <a:gd name="connsiteY378" fmla="*/ 320777 h 667797"/>
                  <a:gd name="connsiteX379" fmla="*/ 578043 w 667724"/>
                  <a:gd name="connsiteY379" fmla="*/ 322212 h 667797"/>
                  <a:gd name="connsiteX380" fmla="*/ 578128 w 667724"/>
                  <a:gd name="connsiteY380" fmla="*/ 324327 h 667797"/>
                  <a:gd name="connsiteX381" fmla="*/ 578238 w 667724"/>
                  <a:gd name="connsiteY381" fmla="*/ 327912 h 667797"/>
                  <a:gd name="connsiteX382" fmla="*/ 578274 w 667724"/>
                  <a:gd name="connsiteY382" fmla="*/ 330647 h 667797"/>
                  <a:gd name="connsiteX383" fmla="*/ 578299 w 667724"/>
                  <a:gd name="connsiteY383" fmla="*/ 333820 h 667797"/>
                  <a:gd name="connsiteX384" fmla="*/ 578274 w 667724"/>
                  <a:gd name="connsiteY384" fmla="*/ 336992 h 667797"/>
                  <a:gd name="connsiteX385" fmla="*/ 578238 w 667724"/>
                  <a:gd name="connsiteY385" fmla="*/ 339727 h 667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Lst>
                <a:rect l="l" t="t" r="r" b="b"/>
                <a:pathLst>
                  <a:path w="667724" h="667797">
                    <a:moveTo>
                      <a:pt x="423270" y="12155"/>
                    </a:moveTo>
                    <a:cubicBezTo>
                      <a:pt x="398376" y="5263"/>
                      <a:pt x="372340" y="1155"/>
                      <a:pt x="345489" y="231"/>
                    </a:cubicBezTo>
                    <a:cubicBezTo>
                      <a:pt x="344042" y="182"/>
                      <a:pt x="342608" y="146"/>
                      <a:pt x="341162" y="97"/>
                    </a:cubicBezTo>
                    <a:cubicBezTo>
                      <a:pt x="338731" y="49"/>
                      <a:pt x="336312" y="0"/>
                      <a:pt x="333881" y="0"/>
                    </a:cubicBezTo>
                    <a:cubicBezTo>
                      <a:pt x="278112" y="0"/>
                      <a:pt x="225553" y="13687"/>
                      <a:pt x="179339" y="37864"/>
                    </a:cubicBezTo>
                    <a:cubicBezTo>
                      <a:pt x="179169" y="37949"/>
                      <a:pt x="178998" y="38046"/>
                      <a:pt x="178828" y="38131"/>
                    </a:cubicBezTo>
                    <a:cubicBezTo>
                      <a:pt x="178682" y="38192"/>
                      <a:pt x="178561" y="38277"/>
                      <a:pt x="178415" y="38350"/>
                    </a:cubicBezTo>
                    <a:cubicBezTo>
                      <a:pt x="146884" y="54978"/>
                      <a:pt x="118319" y="76505"/>
                      <a:pt x="93778" y="101910"/>
                    </a:cubicBezTo>
                    <a:lnTo>
                      <a:pt x="93766" y="101910"/>
                    </a:lnTo>
                    <a:cubicBezTo>
                      <a:pt x="86570" y="109361"/>
                      <a:pt x="79714" y="117152"/>
                      <a:pt x="73223" y="125248"/>
                    </a:cubicBezTo>
                    <a:cubicBezTo>
                      <a:pt x="64192" y="136516"/>
                      <a:pt x="55866" y="148416"/>
                      <a:pt x="48317" y="160826"/>
                    </a:cubicBezTo>
                    <a:cubicBezTo>
                      <a:pt x="47965" y="161410"/>
                      <a:pt x="47588" y="162017"/>
                      <a:pt x="47235" y="162601"/>
                    </a:cubicBezTo>
                    <a:cubicBezTo>
                      <a:pt x="47223" y="162625"/>
                      <a:pt x="47211" y="162649"/>
                      <a:pt x="47199" y="162662"/>
                    </a:cubicBezTo>
                    <a:cubicBezTo>
                      <a:pt x="39383" y="175704"/>
                      <a:pt x="32442" y="189318"/>
                      <a:pt x="26462" y="203430"/>
                    </a:cubicBezTo>
                    <a:lnTo>
                      <a:pt x="26450" y="203430"/>
                    </a:lnTo>
                    <a:cubicBezTo>
                      <a:pt x="23204" y="211064"/>
                      <a:pt x="20239" y="218855"/>
                      <a:pt x="17552" y="226768"/>
                    </a:cubicBezTo>
                    <a:lnTo>
                      <a:pt x="17564" y="226768"/>
                    </a:lnTo>
                    <a:cubicBezTo>
                      <a:pt x="16094" y="231084"/>
                      <a:pt x="14732" y="235423"/>
                      <a:pt x="13444" y="239811"/>
                    </a:cubicBezTo>
                    <a:cubicBezTo>
                      <a:pt x="7317" y="260742"/>
                      <a:pt x="3197" y="282537"/>
                      <a:pt x="1264" y="304951"/>
                    </a:cubicBezTo>
                    <a:cubicBezTo>
                      <a:pt x="596" y="312658"/>
                      <a:pt x="207" y="320437"/>
                      <a:pt x="73" y="328289"/>
                    </a:cubicBezTo>
                    <a:cubicBezTo>
                      <a:pt x="37" y="330149"/>
                      <a:pt x="0" y="332021"/>
                      <a:pt x="0" y="333893"/>
                    </a:cubicBezTo>
                    <a:cubicBezTo>
                      <a:pt x="0" y="338487"/>
                      <a:pt x="109" y="343046"/>
                      <a:pt x="304" y="347592"/>
                    </a:cubicBezTo>
                    <a:cubicBezTo>
                      <a:pt x="948" y="363406"/>
                      <a:pt x="2686" y="378916"/>
                      <a:pt x="5446" y="394098"/>
                    </a:cubicBezTo>
                    <a:cubicBezTo>
                      <a:pt x="6211" y="398243"/>
                      <a:pt x="7026" y="402400"/>
                      <a:pt x="7950" y="406496"/>
                    </a:cubicBezTo>
                    <a:lnTo>
                      <a:pt x="7937" y="406496"/>
                    </a:lnTo>
                    <a:cubicBezTo>
                      <a:pt x="9688" y="414385"/>
                      <a:pt x="11730" y="422152"/>
                      <a:pt x="14027" y="429822"/>
                    </a:cubicBezTo>
                    <a:cubicBezTo>
                      <a:pt x="22341" y="457585"/>
                      <a:pt x="34156" y="483816"/>
                      <a:pt x="48974" y="508017"/>
                    </a:cubicBezTo>
                    <a:cubicBezTo>
                      <a:pt x="53872" y="516015"/>
                      <a:pt x="59099" y="523794"/>
                      <a:pt x="64630" y="531343"/>
                    </a:cubicBezTo>
                    <a:lnTo>
                      <a:pt x="64642" y="531343"/>
                    </a:lnTo>
                    <a:cubicBezTo>
                      <a:pt x="77927" y="549442"/>
                      <a:pt x="93012" y="566155"/>
                      <a:pt x="109604" y="581216"/>
                    </a:cubicBezTo>
                    <a:cubicBezTo>
                      <a:pt x="157483" y="624671"/>
                      <a:pt x="218005" y="654402"/>
                      <a:pt x="285041" y="664236"/>
                    </a:cubicBezTo>
                    <a:lnTo>
                      <a:pt x="285053" y="664236"/>
                    </a:lnTo>
                    <a:cubicBezTo>
                      <a:pt x="301001" y="666570"/>
                      <a:pt x="317277" y="667798"/>
                      <a:pt x="333868" y="667798"/>
                    </a:cubicBezTo>
                    <a:cubicBezTo>
                      <a:pt x="337746" y="667798"/>
                      <a:pt x="341611" y="667725"/>
                      <a:pt x="345452" y="667591"/>
                    </a:cubicBezTo>
                    <a:cubicBezTo>
                      <a:pt x="358082" y="667153"/>
                      <a:pt x="370517" y="666023"/>
                      <a:pt x="382745" y="664224"/>
                    </a:cubicBezTo>
                    <a:cubicBezTo>
                      <a:pt x="396541" y="662206"/>
                      <a:pt x="410045" y="659325"/>
                      <a:pt x="423246" y="655655"/>
                    </a:cubicBezTo>
                    <a:cubicBezTo>
                      <a:pt x="560005" y="617742"/>
                      <a:pt x="661477" y="494986"/>
                      <a:pt x="667421" y="347616"/>
                    </a:cubicBezTo>
                    <a:cubicBezTo>
                      <a:pt x="667615" y="343070"/>
                      <a:pt x="667725" y="338512"/>
                      <a:pt x="667725" y="333917"/>
                    </a:cubicBezTo>
                    <a:cubicBezTo>
                      <a:pt x="667725" y="180493"/>
                      <a:pt x="564223" y="51283"/>
                      <a:pt x="423234" y="12192"/>
                    </a:cubicBezTo>
                    <a:close/>
                    <a:moveTo>
                      <a:pt x="578213" y="339788"/>
                    </a:moveTo>
                    <a:cubicBezTo>
                      <a:pt x="578177" y="340991"/>
                      <a:pt x="578141" y="342183"/>
                      <a:pt x="578104" y="343374"/>
                    </a:cubicBezTo>
                    <a:cubicBezTo>
                      <a:pt x="578080" y="344091"/>
                      <a:pt x="578043" y="344796"/>
                      <a:pt x="578019" y="345489"/>
                    </a:cubicBezTo>
                    <a:cubicBezTo>
                      <a:pt x="577995" y="345963"/>
                      <a:pt x="577970" y="346449"/>
                      <a:pt x="577946" y="346923"/>
                    </a:cubicBezTo>
                    <a:cubicBezTo>
                      <a:pt x="577910" y="347798"/>
                      <a:pt x="577861" y="348674"/>
                      <a:pt x="577788" y="349549"/>
                    </a:cubicBezTo>
                    <a:cubicBezTo>
                      <a:pt x="577776" y="349731"/>
                      <a:pt x="577764" y="349901"/>
                      <a:pt x="577764" y="350096"/>
                    </a:cubicBezTo>
                    <a:cubicBezTo>
                      <a:pt x="577630" y="352040"/>
                      <a:pt x="577484" y="353973"/>
                      <a:pt x="577302" y="355906"/>
                    </a:cubicBezTo>
                    <a:cubicBezTo>
                      <a:pt x="577217" y="356939"/>
                      <a:pt x="577107" y="357972"/>
                      <a:pt x="577010" y="359006"/>
                    </a:cubicBezTo>
                    <a:cubicBezTo>
                      <a:pt x="576791" y="361072"/>
                      <a:pt x="576560" y="363126"/>
                      <a:pt x="576293" y="365168"/>
                    </a:cubicBezTo>
                    <a:cubicBezTo>
                      <a:pt x="576171" y="366201"/>
                      <a:pt x="576026" y="367222"/>
                      <a:pt x="575880" y="368243"/>
                    </a:cubicBezTo>
                    <a:cubicBezTo>
                      <a:pt x="575600" y="370286"/>
                      <a:pt x="575284" y="372316"/>
                      <a:pt x="574944" y="374345"/>
                    </a:cubicBezTo>
                    <a:cubicBezTo>
                      <a:pt x="574761" y="375354"/>
                      <a:pt x="574603" y="376363"/>
                      <a:pt x="574421" y="377372"/>
                    </a:cubicBezTo>
                    <a:cubicBezTo>
                      <a:pt x="574226" y="378381"/>
                      <a:pt x="574056" y="379390"/>
                      <a:pt x="573862" y="380399"/>
                    </a:cubicBezTo>
                    <a:cubicBezTo>
                      <a:pt x="573655" y="381395"/>
                      <a:pt x="573461" y="382404"/>
                      <a:pt x="573266" y="383401"/>
                    </a:cubicBezTo>
                    <a:cubicBezTo>
                      <a:pt x="573060" y="384410"/>
                      <a:pt x="572841" y="385407"/>
                      <a:pt x="572622" y="386403"/>
                    </a:cubicBezTo>
                    <a:cubicBezTo>
                      <a:pt x="572184" y="388397"/>
                      <a:pt x="571723" y="390378"/>
                      <a:pt x="571248" y="392335"/>
                    </a:cubicBezTo>
                    <a:cubicBezTo>
                      <a:pt x="570774" y="394304"/>
                      <a:pt x="570264" y="396261"/>
                      <a:pt x="569717" y="398218"/>
                    </a:cubicBezTo>
                    <a:cubicBezTo>
                      <a:pt x="569498" y="399045"/>
                      <a:pt x="569267" y="399859"/>
                      <a:pt x="569036" y="400686"/>
                    </a:cubicBezTo>
                    <a:cubicBezTo>
                      <a:pt x="568939" y="401026"/>
                      <a:pt x="568842" y="401367"/>
                      <a:pt x="568744" y="401695"/>
                    </a:cubicBezTo>
                    <a:cubicBezTo>
                      <a:pt x="568380" y="403020"/>
                      <a:pt x="567991" y="404320"/>
                      <a:pt x="567565" y="405633"/>
                    </a:cubicBezTo>
                    <a:cubicBezTo>
                      <a:pt x="567286" y="406569"/>
                      <a:pt x="566994" y="407493"/>
                      <a:pt x="566702" y="408429"/>
                    </a:cubicBezTo>
                    <a:cubicBezTo>
                      <a:pt x="566435" y="409255"/>
                      <a:pt x="566167" y="410094"/>
                      <a:pt x="565888" y="410921"/>
                    </a:cubicBezTo>
                    <a:cubicBezTo>
                      <a:pt x="565694" y="411504"/>
                      <a:pt x="565499" y="412100"/>
                      <a:pt x="565305" y="412683"/>
                    </a:cubicBezTo>
                    <a:cubicBezTo>
                      <a:pt x="564988" y="413643"/>
                      <a:pt x="564648" y="414579"/>
                      <a:pt x="564308" y="415527"/>
                    </a:cubicBezTo>
                    <a:cubicBezTo>
                      <a:pt x="563980" y="416476"/>
                      <a:pt x="563639" y="417411"/>
                      <a:pt x="563287" y="418360"/>
                    </a:cubicBezTo>
                    <a:cubicBezTo>
                      <a:pt x="562946" y="419296"/>
                      <a:pt x="562594" y="420232"/>
                      <a:pt x="562241" y="421167"/>
                    </a:cubicBezTo>
                    <a:cubicBezTo>
                      <a:pt x="561524" y="423027"/>
                      <a:pt x="560783" y="424899"/>
                      <a:pt x="560017" y="426747"/>
                    </a:cubicBezTo>
                    <a:cubicBezTo>
                      <a:pt x="559263" y="428570"/>
                      <a:pt x="558498" y="430381"/>
                      <a:pt x="557707" y="432180"/>
                    </a:cubicBezTo>
                    <a:cubicBezTo>
                      <a:pt x="557695" y="432204"/>
                      <a:pt x="557683" y="432241"/>
                      <a:pt x="557671" y="432265"/>
                    </a:cubicBezTo>
                    <a:cubicBezTo>
                      <a:pt x="557270" y="433177"/>
                      <a:pt x="556869" y="434064"/>
                      <a:pt x="556455" y="434976"/>
                    </a:cubicBezTo>
                    <a:cubicBezTo>
                      <a:pt x="556042" y="435887"/>
                      <a:pt x="555629" y="436775"/>
                      <a:pt x="555204" y="437686"/>
                    </a:cubicBezTo>
                    <a:cubicBezTo>
                      <a:pt x="554802" y="438525"/>
                      <a:pt x="554401" y="439376"/>
                      <a:pt x="553988" y="440215"/>
                    </a:cubicBezTo>
                    <a:cubicBezTo>
                      <a:pt x="553952" y="440288"/>
                      <a:pt x="553915" y="440373"/>
                      <a:pt x="553879" y="440458"/>
                    </a:cubicBezTo>
                    <a:cubicBezTo>
                      <a:pt x="553453" y="441321"/>
                      <a:pt x="553040" y="442196"/>
                      <a:pt x="552602" y="443047"/>
                    </a:cubicBezTo>
                    <a:cubicBezTo>
                      <a:pt x="551703" y="444822"/>
                      <a:pt x="550803" y="446596"/>
                      <a:pt x="549867" y="448347"/>
                    </a:cubicBezTo>
                    <a:cubicBezTo>
                      <a:pt x="549430" y="449149"/>
                      <a:pt x="549004" y="449963"/>
                      <a:pt x="548567" y="450778"/>
                    </a:cubicBezTo>
                    <a:cubicBezTo>
                      <a:pt x="547582" y="452577"/>
                      <a:pt x="546573" y="454364"/>
                      <a:pt x="545540" y="456138"/>
                    </a:cubicBezTo>
                    <a:cubicBezTo>
                      <a:pt x="545090" y="456928"/>
                      <a:pt x="544628" y="457706"/>
                      <a:pt x="544179" y="458484"/>
                    </a:cubicBezTo>
                    <a:cubicBezTo>
                      <a:pt x="542112" y="461961"/>
                      <a:pt x="539961" y="465364"/>
                      <a:pt x="537749" y="468731"/>
                    </a:cubicBezTo>
                    <a:cubicBezTo>
                      <a:pt x="537202" y="469545"/>
                      <a:pt x="536655" y="470360"/>
                      <a:pt x="536083" y="471186"/>
                    </a:cubicBezTo>
                    <a:cubicBezTo>
                      <a:pt x="535548" y="472001"/>
                      <a:pt x="534989" y="472803"/>
                      <a:pt x="534406" y="473630"/>
                    </a:cubicBezTo>
                    <a:cubicBezTo>
                      <a:pt x="533847" y="474432"/>
                      <a:pt x="533275" y="475234"/>
                      <a:pt x="532692" y="476036"/>
                    </a:cubicBezTo>
                    <a:cubicBezTo>
                      <a:pt x="532121" y="476839"/>
                      <a:pt x="531537" y="477629"/>
                      <a:pt x="530954" y="478419"/>
                    </a:cubicBezTo>
                    <a:cubicBezTo>
                      <a:pt x="530370" y="479221"/>
                      <a:pt x="529775" y="479999"/>
                      <a:pt x="529191" y="480789"/>
                    </a:cubicBezTo>
                    <a:cubicBezTo>
                      <a:pt x="528596" y="481579"/>
                      <a:pt x="528000" y="482357"/>
                      <a:pt x="527392" y="483135"/>
                    </a:cubicBezTo>
                    <a:cubicBezTo>
                      <a:pt x="526809" y="483913"/>
                      <a:pt x="526189" y="484679"/>
                      <a:pt x="525593" y="485444"/>
                    </a:cubicBezTo>
                    <a:cubicBezTo>
                      <a:pt x="525593" y="485444"/>
                      <a:pt x="525581" y="485453"/>
                      <a:pt x="525569" y="485469"/>
                    </a:cubicBezTo>
                    <a:cubicBezTo>
                      <a:pt x="524961" y="486235"/>
                      <a:pt x="524354" y="487000"/>
                      <a:pt x="523734" y="487766"/>
                    </a:cubicBezTo>
                    <a:cubicBezTo>
                      <a:pt x="522518" y="489261"/>
                      <a:pt x="521290" y="490732"/>
                      <a:pt x="520051" y="492191"/>
                    </a:cubicBezTo>
                    <a:cubicBezTo>
                      <a:pt x="519965" y="492288"/>
                      <a:pt x="519880" y="492397"/>
                      <a:pt x="519795" y="492495"/>
                    </a:cubicBezTo>
                    <a:cubicBezTo>
                      <a:pt x="519212" y="493175"/>
                      <a:pt x="518628" y="493844"/>
                      <a:pt x="518045" y="494524"/>
                    </a:cubicBezTo>
                    <a:cubicBezTo>
                      <a:pt x="517364" y="495290"/>
                      <a:pt x="516696" y="496056"/>
                      <a:pt x="516015" y="496822"/>
                    </a:cubicBezTo>
                    <a:cubicBezTo>
                      <a:pt x="515383" y="497527"/>
                      <a:pt x="514739" y="498232"/>
                      <a:pt x="514094" y="498912"/>
                    </a:cubicBezTo>
                    <a:cubicBezTo>
                      <a:pt x="512782" y="500371"/>
                      <a:pt x="511445" y="501793"/>
                      <a:pt x="510059" y="503215"/>
                    </a:cubicBezTo>
                    <a:cubicBezTo>
                      <a:pt x="509378" y="503920"/>
                      <a:pt x="508698" y="504638"/>
                      <a:pt x="508005" y="505318"/>
                    </a:cubicBezTo>
                    <a:cubicBezTo>
                      <a:pt x="507312" y="506023"/>
                      <a:pt x="506631" y="506728"/>
                      <a:pt x="505926" y="507409"/>
                    </a:cubicBezTo>
                    <a:cubicBezTo>
                      <a:pt x="505197" y="508138"/>
                      <a:pt x="504455" y="508855"/>
                      <a:pt x="503714" y="509560"/>
                    </a:cubicBezTo>
                    <a:cubicBezTo>
                      <a:pt x="502972" y="510278"/>
                      <a:pt x="502231" y="510995"/>
                      <a:pt x="501477" y="511688"/>
                    </a:cubicBezTo>
                    <a:cubicBezTo>
                      <a:pt x="499229" y="513803"/>
                      <a:pt x="496931" y="515881"/>
                      <a:pt x="494609" y="517911"/>
                    </a:cubicBezTo>
                    <a:cubicBezTo>
                      <a:pt x="493832" y="518592"/>
                      <a:pt x="493054" y="519260"/>
                      <a:pt x="492276" y="519929"/>
                    </a:cubicBezTo>
                    <a:cubicBezTo>
                      <a:pt x="490817" y="521169"/>
                      <a:pt x="489371" y="522384"/>
                      <a:pt x="487888" y="523576"/>
                    </a:cubicBezTo>
                    <a:cubicBezTo>
                      <a:pt x="485311" y="525678"/>
                      <a:pt x="482661" y="527733"/>
                      <a:pt x="479987" y="529726"/>
                    </a:cubicBezTo>
                    <a:cubicBezTo>
                      <a:pt x="479233" y="530297"/>
                      <a:pt x="478467" y="530857"/>
                      <a:pt x="477714" y="531416"/>
                    </a:cubicBezTo>
                    <a:cubicBezTo>
                      <a:pt x="476036" y="532643"/>
                      <a:pt x="474359" y="533822"/>
                      <a:pt x="472657" y="535001"/>
                    </a:cubicBezTo>
                    <a:cubicBezTo>
                      <a:pt x="471806" y="535585"/>
                      <a:pt x="470955" y="536181"/>
                      <a:pt x="470092" y="536752"/>
                    </a:cubicBezTo>
                    <a:cubicBezTo>
                      <a:pt x="468379" y="537919"/>
                      <a:pt x="466665" y="539037"/>
                      <a:pt x="464914" y="540143"/>
                    </a:cubicBezTo>
                    <a:cubicBezTo>
                      <a:pt x="464051" y="540690"/>
                      <a:pt x="463164" y="541237"/>
                      <a:pt x="462289" y="541784"/>
                    </a:cubicBezTo>
                    <a:cubicBezTo>
                      <a:pt x="460004" y="543206"/>
                      <a:pt x="457694" y="544580"/>
                      <a:pt x="455372" y="545905"/>
                    </a:cubicBezTo>
                    <a:cubicBezTo>
                      <a:pt x="454619" y="546342"/>
                      <a:pt x="453865" y="546768"/>
                      <a:pt x="453112" y="547193"/>
                    </a:cubicBezTo>
                    <a:cubicBezTo>
                      <a:pt x="452589" y="547473"/>
                      <a:pt x="452078" y="547764"/>
                      <a:pt x="451556" y="548056"/>
                    </a:cubicBezTo>
                    <a:cubicBezTo>
                      <a:pt x="450644" y="548555"/>
                      <a:pt x="449732" y="549041"/>
                      <a:pt x="448809" y="549539"/>
                    </a:cubicBezTo>
                    <a:cubicBezTo>
                      <a:pt x="447897" y="550025"/>
                      <a:pt x="446985" y="550512"/>
                      <a:pt x="446049" y="550986"/>
                    </a:cubicBezTo>
                    <a:cubicBezTo>
                      <a:pt x="445125" y="551472"/>
                      <a:pt x="444202" y="551946"/>
                      <a:pt x="443278" y="552408"/>
                    </a:cubicBezTo>
                    <a:cubicBezTo>
                      <a:pt x="438464" y="554814"/>
                      <a:pt x="433566" y="557075"/>
                      <a:pt x="428570" y="559178"/>
                    </a:cubicBezTo>
                    <a:cubicBezTo>
                      <a:pt x="427792" y="559506"/>
                      <a:pt x="427002" y="559847"/>
                      <a:pt x="426200" y="560163"/>
                    </a:cubicBezTo>
                    <a:cubicBezTo>
                      <a:pt x="425227" y="560576"/>
                      <a:pt x="424243" y="560965"/>
                      <a:pt x="423258" y="561354"/>
                    </a:cubicBezTo>
                    <a:cubicBezTo>
                      <a:pt x="398984" y="570896"/>
                      <a:pt x="372814" y="576682"/>
                      <a:pt x="345465" y="577958"/>
                    </a:cubicBezTo>
                    <a:lnTo>
                      <a:pt x="345355" y="577958"/>
                    </a:lnTo>
                    <a:cubicBezTo>
                      <a:pt x="344431" y="578007"/>
                      <a:pt x="343520" y="578043"/>
                      <a:pt x="342596" y="578068"/>
                    </a:cubicBezTo>
                    <a:cubicBezTo>
                      <a:pt x="341624" y="578104"/>
                      <a:pt x="340663" y="578140"/>
                      <a:pt x="339703" y="578153"/>
                    </a:cubicBezTo>
                    <a:cubicBezTo>
                      <a:pt x="338731" y="578189"/>
                      <a:pt x="337758" y="578201"/>
                      <a:pt x="336798" y="578213"/>
                    </a:cubicBezTo>
                    <a:cubicBezTo>
                      <a:pt x="335838" y="578226"/>
                      <a:pt x="334853" y="578226"/>
                      <a:pt x="333893" y="578226"/>
                    </a:cubicBezTo>
                    <a:cubicBezTo>
                      <a:pt x="333054" y="578226"/>
                      <a:pt x="332203" y="578226"/>
                      <a:pt x="331365" y="578213"/>
                    </a:cubicBezTo>
                    <a:cubicBezTo>
                      <a:pt x="330817" y="578213"/>
                      <a:pt x="330270" y="578201"/>
                      <a:pt x="329723" y="578189"/>
                    </a:cubicBezTo>
                    <a:cubicBezTo>
                      <a:pt x="329128" y="578177"/>
                      <a:pt x="328520" y="578177"/>
                      <a:pt x="327912" y="578153"/>
                    </a:cubicBezTo>
                    <a:cubicBezTo>
                      <a:pt x="326928" y="578140"/>
                      <a:pt x="325931" y="578104"/>
                      <a:pt x="324934" y="578068"/>
                    </a:cubicBezTo>
                    <a:cubicBezTo>
                      <a:pt x="324399" y="578055"/>
                      <a:pt x="323852" y="578031"/>
                      <a:pt x="323318" y="578007"/>
                    </a:cubicBezTo>
                    <a:cubicBezTo>
                      <a:pt x="322649" y="577982"/>
                      <a:pt x="322005" y="577958"/>
                      <a:pt x="321349" y="577922"/>
                    </a:cubicBezTo>
                    <a:cubicBezTo>
                      <a:pt x="320522" y="577885"/>
                      <a:pt x="319683" y="577837"/>
                      <a:pt x="318857" y="577776"/>
                    </a:cubicBezTo>
                    <a:cubicBezTo>
                      <a:pt x="317398" y="577703"/>
                      <a:pt x="315964" y="577594"/>
                      <a:pt x="314529" y="577484"/>
                    </a:cubicBezTo>
                    <a:cubicBezTo>
                      <a:pt x="312670" y="577326"/>
                      <a:pt x="310810" y="577168"/>
                      <a:pt x="308962" y="576974"/>
                    </a:cubicBezTo>
                    <a:cubicBezTo>
                      <a:pt x="308148" y="576901"/>
                      <a:pt x="307321" y="576803"/>
                      <a:pt x="306495" y="576718"/>
                    </a:cubicBezTo>
                    <a:cubicBezTo>
                      <a:pt x="304866" y="576536"/>
                      <a:pt x="303237" y="576329"/>
                      <a:pt x="301608" y="576123"/>
                    </a:cubicBezTo>
                    <a:cubicBezTo>
                      <a:pt x="299992" y="575916"/>
                      <a:pt x="298363" y="575685"/>
                      <a:pt x="296758" y="575430"/>
                    </a:cubicBezTo>
                    <a:cubicBezTo>
                      <a:pt x="295944" y="575320"/>
                      <a:pt x="295142" y="575187"/>
                      <a:pt x="294327" y="575053"/>
                    </a:cubicBezTo>
                    <a:cubicBezTo>
                      <a:pt x="291921" y="574652"/>
                      <a:pt x="289514" y="574239"/>
                      <a:pt x="287132" y="573777"/>
                    </a:cubicBezTo>
                    <a:cubicBezTo>
                      <a:pt x="284871" y="573339"/>
                      <a:pt x="282610" y="572865"/>
                      <a:pt x="280385" y="572355"/>
                    </a:cubicBezTo>
                    <a:cubicBezTo>
                      <a:pt x="276070" y="571394"/>
                      <a:pt x="271792" y="570312"/>
                      <a:pt x="267574" y="569121"/>
                    </a:cubicBezTo>
                    <a:cubicBezTo>
                      <a:pt x="266650" y="568866"/>
                      <a:pt x="265738" y="568599"/>
                      <a:pt x="264827" y="568331"/>
                    </a:cubicBezTo>
                    <a:cubicBezTo>
                      <a:pt x="263903" y="568064"/>
                      <a:pt x="263003" y="567796"/>
                      <a:pt x="262092" y="567517"/>
                    </a:cubicBezTo>
                    <a:cubicBezTo>
                      <a:pt x="259126" y="566605"/>
                      <a:pt x="256196" y="565645"/>
                      <a:pt x="253279" y="564624"/>
                    </a:cubicBezTo>
                    <a:cubicBezTo>
                      <a:pt x="252611" y="564393"/>
                      <a:pt x="251954" y="564162"/>
                      <a:pt x="251298" y="563919"/>
                    </a:cubicBezTo>
                    <a:cubicBezTo>
                      <a:pt x="250410" y="563603"/>
                      <a:pt x="249523" y="563287"/>
                      <a:pt x="248636" y="562946"/>
                    </a:cubicBezTo>
                    <a:cubicBezTo>
                      <a:pt x="248064" y="562728"/>
                      <a:pt x="247469" y="562509"/>
                      <a:pt x="246885" y="562278"/>
                    </a:cubicBezTo>
                    <a:cubicBezTo>
                      <a:pt x="245706" y="561828"/>
                      <a:pt x="244539" y="561391"/>
                      <a:pt x="243360" y="560916"/>
                    </a:cubicBezTo>
                    <a:cubicBezTo>
                      <a:pt x="241878" y="560333"/>
                      <a:pt x="240407" y="559725"/>
                      <a:pt x="238960" y="559105"/>
                    </a:cubicBezTo>
                    <a:cubicBezTo>
                      <a:pt x="237489" y="558498"/>
                      <a:pt x="236055" y="557865"/>
                      <a:pt x="234609" y="557221"/>
                    </a:cubicBezTo>
                    <a:cubicBezTo>
                      <a:pt x="233162" y="556589"/>
                      <a:pt x="231728" y="555933"/>
                      <a:pt x="230294" y="555252"/>
                    </a:cubicBezTo>
                    <a:cubicBezTo>
                      <a:pt x="229017" y="554656"/>
                      <a:pt x="227753" y="554049"/>
                      <a:pt x="226489" y="553417"/>
                    </a:cubicBezTo>
                    <a:cubicBezTo>
                      <a:pt x="226246" y="553319"/>
                      <a:pt x="226003" y="553198"/>
                      <a:pt x="225760" y="553064"/>
                    </a:cubicBezTo>
                    <a:cubicBezTo>
                      <a:pt x="224435" y="552432"/>
                      <a:pt x="223122" y="551764"/>
                      <a:pt x="221797" y="551071"/>
                    </a:cubicBezTo>
                    <a:cubicBezTo>
                      <a:pt x="220387" y="550354"/>
                      <a:pt x="219001" y="549612"/>
                      <a:pt x="217628" y="548858"/>
                    </a:cubicBezTo>
                    <a:cubicBezTo>
                      <a:pt x="216242" y="548117"/>
                      <a:pt x="214868" y="547351"/>
                      <a:pt x="213507" y="546573"/>
                    </a:cubicBezTo>
                    <a:cubicBezTo>
                      <a:pt x="212146" y="545795"/>
                      <a:pt x="210784" y="545017"/>
                      <a:pt x="209435" y="544215"/>
                    </a:cubicBezTo>
                    <a:cubicBezTo>
                      <a:pt x="208086" y="543413"/>
                      <a:pt x="206737" y="542611"/>
                      <a:pt x="205400" y="541760"/>
                    </a:cubicBezTo>
                    <a:cubicBezTo>
                      <a:pt x="204075" y="540945"/>
                      <a:pt x="202750" y="540119"/>
                      <a:pt x="201425" y="539244"/>
                    </a:cubicBezTo>
                    <a:cubicBezTo>
                      <a:pt x="200112" y="538417"/>
                      <a:pt x="198799" y="537542"/>
                      <a:pt x="197511" y="536667"/>
                    </a:cubicBezTo>
                    <a:cubicBezTo>
                      <a:pt x="194910" y="534929"/>
                      <a:pt x="192357" y="533130"/>
                      <a:pt x="189829" y="531282"/>
                    </a:cubicBezTo>
                    <a:cubicBezTo>
                      <a:pt x="187398" y="529507"/>
                      <a:pt x="185003" y="527684"/>
                      <a:pt x="182645" y="525824"/>
                    </a:cubicBezTo>
                    <a:cubicBezTo>
                      <a:pt x="181685" y="525058"/>
                      <a:pt x="180724" y="524293"/>
                      <a:pt x="179776" y="523515"/>
                    </a:cubicBezTo>
                    <a:cubicBezTo>
                      <a:pt x="179156" y="523016"/>
                      <a:pt x="178524" y="522506"/>
                      <a:pt x="177916" y="521983"/>
                    </a:cubicBezTo>
                    <a:cubicBezTo>
                      <a:pt x="177601" y="521728"/>
                      <a:pt x="177297" y="521473"/>
                      <a:pt x="176981" y="521205"/>
                    </a:cubicBezTo>
                    <a:cubicBezTo>
                      <a:pt x="176251" y="520610"/>
                      <a:pt x="175534" y="519990"/>
                      <a:pt x="174829" y="519382"/>
                    </a:cubicBezTo>
                    <a:cubicBezTo>
                      <a:pt x="173383" y="518142"/>
                      <a:pt x="171948" y="516890"/>
                      <a:pt x="170538" y="515614"/>
                    </a:cubicBezTo>
                    <a:cubicBezTo>
                      <a:pt x="169821" y="514982"/>
                      <a:pt x="169104" y="514325"/>
                      <a:pt x="168411" y="513657"/>
                    </a:cubicBezTo>
                    <a:cubicBezTo>
                      <a:pt x="167585" y="512915"/>
                      <a:pt x="166770" y="512150"/>
                      <a:pt x="165944" y="511372"/>
                    </a:cubicBezTo>
                    <a:cubicBezTo>
                      <a:pt x="164740" y="510253"/>
                      <a:pt x="163573" y="509099"/>
                      <a:pt x="162394" y="507956"/>
                    </a:cubicBezTo>
                    <a:cubicBezTo>
                      <a:pt x="161689" y="507263"/>
                      <a:pt x="160996" y="506570"/>
                      <a:pt x="160304" y="505865"/>
                    </a:cubicBezTo>
                    <a:cubicBezTo>
                      <a:pt x="159659" y="505221"/>
                      <a:pt x="159039" y="504589"/>
                      <a:pt x="158432" y="503945"/>
                    </a:cubicBezTo>
                    <a:cubicBezTo>
                      <a:pt x="157423" y="502912"/>
                      <a:pt x="156414" y="501866"/>
                      <a:pt x="155441" y="500809"/>
                    </a:cubicBezTo>
                    <a:cubicBezTo>
                      <a:pt x="154664" y="499994"/>
                      <a:pt x="153910" y="499180"/>
                      <a:pt x="153156" y="498341"/>
                    </a:cubicBezTo>
                    <a:cubicBezTo>
                      <a:pt x="152476" y="497600"/>
                      <a:pt x="151807" y="496846"/>
                      <a:pt x="151138" y="496092"/>
                    </a:cubicBezTo>
                    <a:cubicBezTo>
                      <a:pt x="150166" y="494999"/>
                      <a:pt x="149194" y="493892"/>
                      <a:pt x="148258" y="492786"/>
                    </a:cubicBezTo>
                    <a:cubicBezTo>
                      <a:pt x="147601" y="492033"/>
                      <a:pt x="146969" y="491279"/>
                      <a:pt x="146337" y="490525"/>
                    </a:cubicBezTo>
                    <a:cubicBezTo>
                      <a:pt x="145061" y="489006"/>
                      <a:pt x="143809" y="487474"/>
                      <a:pt x="142581" y="485918"/>
                    </a:cubicBezTo>
                    <a:cubicBezTo>
                      <a:pt x="142095" y="485323"/>
                      <a:pt x="141609" y="484715"/>
                      <a:pt x="141135" y="484107"/>
                    </a:cubicBezTo>
                    <a:cubicBezTo>
                      <a:pt x="140734" y="483597"/>
                      <a:pt x="140345" y="483086"/>
                      <a:pt x="139956" y="482564"/>
                    </a:cubicBezTo>
                    <a:cubicBezTo>
                      <a:pt x="139263" y="481701"/>
                      <a:pt x="138606" y="480813"/>
                      <a:pt x="137950" y="479938"/>
                    </a:cubicBezTo>
                    <a:cubicBezTo>
                      <a:pt x="136820" y="478431"/>
                      <a:pt x="135713" y="476911"/>
                      <a:pt x="134632" y="475380"/>
                    </a:cubicBezTo>
                    <a:cubicBezTo>
                      <a:pt x="133842" y="474286"/>
                      <a:pt x="133064" y="473168"/>
                      <a:pt x="132310" y="472062"/>
                    </a:cubicBezTo>
                    <a:cubicBezTo>
                      <a:pt x="132152" y="471855"/>
                      <a:pt x="132018" y="471636"/>
                      <a:pt x="131872" y="471429"/>
                    </a:cubicBezTo>
                    <a:cubicBezTo>
                      <a:pt x="131350" y="470676"/>
                      <a:pt x="130827" y="469910"/>
                      <a:pt x="130329" y="469144"/>
                    </a:cubicBezTo>
                    <a:cubicBezTo>
                      <a:pt x="129466" y="467856"/>
                      <a:pt x="128603" y="466543"/>
                      <a:pt x="127776" y="465230"/>
                    </a:cubicBezTo>
                    <a:cubicBezTo>
                      <a:pt x="126852" y="463796"/>
                      <a:pt x="125953" y="462362"/>
                      <a:pt x="125065" y="460891"/>
                    </a:cubicBezTo>
                    <a:cubicBezTo>
                      <a:pt x="124409" y="459845"/>
                      <a:pt x="123777" y="458776"/>
                      <a:pt x="123145" y="457694"/>
                    </a:cubicBezTo>
                    <a:cubicBezTo>
                      <a:pt x="122707" y="456977"/>
                      <a:pt x="122306" y="456260"/>
                      <a:pt x="121893" y="455543"/>
                    </a:cubicBezTo>
                    <a:cubicBezTo>
                      <a:pt x="121079" y="454133"/>
                      <a:pt x="120288" y="452735"/>
                      <a:pt x="119510" y="451313"/>
                    </a:cubicBezTo>
                    <a:cubicBezTo>
                      <a:pt x="118976" y="450328"/>
                      <a:pt x="118441" y="449343"/>
                      <a:pt x="117930" y="448359"/>
                    </a:cubicBezTo>
                    <a:cubicBezTo>
                      <a:pt x="117505" y="447581"/>
                      <a:pt x="117104" y="446803"/>
                      <a:pt x="116703" y="446025"/>
                    </a:cubicBezTo>
                    <a:cubicBezTo>
                      <a:pt x="116229" y="445150"/>
                      <a:pt x="115779" y="444250"/>
                      <a:pt x="115341" y="443375"/>
                    </a:cubicBezTo>
                    <a:cubicBezTo>
                      <a:pt x="114892" y="442476"/>
                      <a:pt x="114442" y="441588"/>
                      <a:pt x="114016" y="440677"/>
                    </a:cubicBezTo>
                    <a:cubicBezTo>
                      <a:pt x="113141" y="438878"/>
                      <a:pt x="112278" y="437067"/>
                      <a:pt x="111464" y="435255"/>
                    </a:cubicBezTo>
                    <a:cubicBezTo>
                      <a:pt x="110625" y="433432"/>
                      <a:pt x="109823" y="431609"/>
                      <a:pt x="109020" y="429761"/>
                    </a:cubicBezTo>
                    <a:cubicBezTo>
                      <a:pt x="108656" y="428898"/>
                      <a:pt x="108279" y="428011"/>
                      <a:pt x="107927" y="427136"/>
                    </a:cubicBezTo>
                    <a:cubicBezTo>
                      <a:pt x="107878" y="427038"/>
                      <a:pt x="107841" y="426929"/>
                      <a:pt x="107793" y="426832"/>
                    </a:cubicBezTo>
                    <a:cubicBezTo>
                      <a:pt x="107428" y="425932"/>
                      <a:pt x="107051" y="425033"/>
                      <a:pt x="106699" y="424109"/>
                    </a:cubicBezTo>
                    <a:cubicBezTo>
                      <a:pt x="106298" y="423124"/>
                      <a:pt x="105921" y="422140"/>
                      <a:pt x="105532" y="421143"/>
                    </a:cubicBezTo>
                    <a:cubicBezTo>
                      <a:pt x="105167" y="420171"/>
                      <a:pt x="104790" y="419210"/>
                      <a:pt x="104450" y="418238"/>
                    </a:cubicBezTo>
                    <a:cubicBezTo>
                      <a:pt x="104085" y="417266"/>
                      <a:pt x="103733" y="416293"/>
                      <a:pt x="103393" y="415321"/>
                    </a:cubicBezTo>
                    <a:cubicBezTo>
                      <a:pt x="103040" y="414348"/>
                      <a:pt x="102700" y="413364"/>
                      <a:pt x="102372" y="412379"/>
                    </a:cubicBezTo>
                    <a:cubicBezTo>
                      <a:pt x="102031" y="411395"/>
                      <a:pt x="101691" y="410410"/>
                      <a:pt x="101387" y="409413"/>
                    </a:cubicBezTo>
                    <a:cubicBezTo>
                      <a:pt x="101059" y="408429"/>
                      <a:pt x="100731" y="407432"/>
                      <a:pt x="100427" y="406435"/>
                    </a:cubicBezTo>
                    <a:cubicBezTo>
                      <a:pt x="99977" y="405001"/>
                      <a:pt x="99552" y="403567"/>
                      <a:pt x="99138" y="402120"/>
                    </a:cubicBezTo>
                    <a:cubicBezTo>
                      <a:pt x="98713" y="400674"/>
                      <a:pt x="98312" y="399227"/>
                      <a:pt x="97923" y="397769"/>
                    </a:cubicBezTo>
                    <a:cubicBezTo>
                      <a:pt x="97510" y="396310"/>
                      <a:pt x="97145" y="394864"/>
                      <a:pt x="96768" y="393393"/>
                    </a:cubicBezTo>
                    <a:cubicBezTo>
                      <a:pt x="96355" y="391752"/>
                      <a:pt x="95966" y="390087"/>
                      <a:pt x="95577" y="388409"/>
                    </a:cubicBezTo>
                    <a:cubicBezTo>
                      <a:pt x="95309" y="387254"/>
                      <a:pt x="95054" y="386100"/>
                      <a:pt x="94811" y="384933"/>
                    </a:cubicBezTo>
                    <a:cubicBezTo>
                      <a:pt x="94762" y="384677"/>
                      <a:pt x="94702" y="384422"/>
                      <a:pt x="94653" y="384179"/>
                    </a:cubicBezTo>
                    <a:cubicBezTo>
                      <a:pt x="94361" y="382806"/>
                      <a:pt x="94082" y="381420"/>
                      <a:pt x="93826" y="380046"/>
                    </a:cubicBezTo>
                    <a:cubicBezTo>
                      <a:pt x="93535" y="378551"/>
                      <a:pt x="93267" y="377044"/>
                      <a:pt x="93012" y="375537"/>
                    </a:cubicBezTo>
                    <a:cubicBezTo>
                      <a:pt x="92708" y="373774"/>
                      <a:pt x="92416" y="372012"/>
                      <a:pt x="92161" y="370237"/>
                    </a:cubicBezTo>
                    <a:cubicBezTo>
                      <a:pt x="91991" y="369119"/>
                      <a:pt x="91833" y="367976"/>
                      <a:pt x="91675" y="366846"/>
                    </a:cubicBezTo>
                    <a:cubicBezTo>
                      <a:pt x="91517" y="365691"/>
                      <a:pt x="91371" y="364548"/>
                      <a:pt x="91237" y="363394"/>
                    </a:cubicBezTo>
                    <a:cubicBezTo>
                      <a:pt x="91128" y="362543"/>
                      <a:pt x="91031" y="361680"/>
                      <a:pt x="90946" y="360817"/>
                    </a:cubicBezTo>
                    <a:cubicBezTo>
                      <a:pt x="90800" y="359625"/>
                      <a:pt x="90690" y="358446"/>
                      <a:pt x="90581" y="357255"/>
                    </a:cubicBezTo>
                    <a:cubicBezTo>
                      <a:pt x="90314" y="354557"/>
                      <a:pt x="90107" y="351846"/>
                      <a:pt x="89949" y="349123"/>
                    </a:cubicBezTo>
                    <a:cubicBezTo>
                      <a:pt x="89937" y="349038"/>
                      <a:pt x="89937" y="348941"/>
                      <a:pt x="89937" y="348868"/>
                    </a:cubicBezTo>
                    <a:cubicBezTo>
                      <a:pt x="89876" y="347944"/>
                      <a:pt x="89827" y="347033"/>
                      <a:pt x="89779" y="346109"/>
                    </a:cubicBezTo>
                    <a:cubicBezTo>
                      <a:pt x="89742" y="345537"/>
                      <a:pt x="89718" y="344942"/>
                      <a:pt x="89706" y="344371"/>
                    </a:cubicBezTo>
                    <a:cubicBezTo>
                      <a:pt x="89682" y="343836"/>
                      <a:pt x="89657" y="343289"/>
                      <a:pt x="89645" y="342742"/>
                    </a:cubicBezTo>
                    <a:cubicBezTo>
                      <a:pt x="89596" y="341356"/>
                      <a:pt x="89560" y="339958"/>
                      <a:pt x="89536" y="338560"/>
                    </a:cubicBezTo>
                    <a:cubicBezTo>
                      <a:pt x="89499" y="336992"/>
                      <a:pt x="89487" y="335424"/>
                      <a:pt x="89487" y="333832"/>
                    </a:cubicBezTo>
                    <a:cubicBezTo>
                      <a:pt x="89487" y="332896"/>
                      <a:pt x="89499" y="331960"/>
                      <a:pt x="89499" y="331024"/>
                    </a:cubicBezTo>
                    <a:cubicBezTo>
                      <a:pt x="89511" y="330088"/>
                      <a:pt x="89523" y="329164"/>
                      <a:pt x="89548" y="328228"/>
                    </a:cubicBezTo>
                    <a:cubicBezTo>
                      <a:pt x="89596" y="326259"/>
                      <a:pt x="89657" y="324302"/>
                      <a:pt x="89767" y="322345"/>
                    </a:cubicBezTo>
                    <a:cubicBezTo>
                      <a:pt x="89803" y="321361"/>
                      <a:pt x="89852" y="320376"/>
                      <a:pt x="89925" y="319404"/>
                    </a:cubicBezTo>
                    <a:cubicBezTo>
                      <a:pt x="90022" y="317447"/>
                      <a:pt x="90168" y="315514"/>
                      <a:pt x="90338" y="313569"/>
                    </a:cubicBezTo>
                    <a:cubicBezTo>
                      <a:pt x="90435" y="312305"/>
                      <a:pt x="90557" y="311053"/>
                      <a:pt x="90678" y="309801"/>
                    </a:cubicBezTo>
                    <a:cubicBezTo>
                      <a:pt x="90836" y="308160"/>
                      <a:pt x="91006" y="306519"/>
                      <a:pt x="91201" y="304890"/>
                    </a:cubicBezTo>
                    <a:cubicBezTo>
                      <a:pt x="91298" y="304027"/>
                      <a:pt x="91408" y="303152"/>
                      <a:pt x="91517" y="302301"/>
                    </a:cubicBezTo>
                    <a:cubicBezTo>
                      <a:pt x="91736" y="300563"/>
                      <a:pt x="91979" y="298837"/>
                      <a:pt x="92246" y="297135"/>
                    </a:cubicBezTo>
                    <a:cubicBezTo>
                      <a:pt x="92502" y="295409"/>
                      <a:pt x="92769" y="293707"/>
                      <a:pt x="93073" y="291994"/>
                    </a:cubicBezTo>
                    <a:cubicBezTo>
                      <a:pt x="93352" y="290292"/>
                      <a:pt x="93668" y="288590"/>
                      <a:pt x="94009" y="286901"/>
                    </a:cubicBezTo>
                    <a:cubicBezTo>
                      <a:pt x="94665" y="283521"/>
                      <a:pt x="95382" y="280154"/>
                      <a:pt x="96197" y="276812"/>
                    </a:cubicBezTo>
                    <a:cubicBezTo>
                      <a:pt x="96391" y="275985"/>
                      <a:pt x="96598" y="275146"/>
                      <a:pt x="96804" y="274308"/>
                    </a:cubicBezTo>
                    <a:cubicBezTo>
                      <a:pt x="97011" y="273481"/>
                      <a:pt x="97218" y="272667"/>
                      <a:pt x="97437" y="271828"/>
                    </a:cubicBezTo>
                    <a:cubicBezTo>
                      <a:pt x="97643" y="271001"/>
                      <a:pt x="97862" y="270187"/>
                      <a:pt x="98105" y="269348"/>
                    </a:cubicBezTo>
                    <a:cubicBezTo>
                      <a:pt x="98324" y="268522"/>
                      <a:pt x="98555" y="267707"/>
                      <a:pt x="98786" y="266869"/>
                    </a:cubicBezTo>
                    <a:cubicBezTo>
                      <a:pt x="99017" y="266054"/>
                      <a:pt x="99260" y="265240"/>
                      <a:pt x="99503" y="264413"/>
                    </a:cubicBezTo>
                    <a:cubicBezTo>
                      <a:pt x="99977" y="262784"/>
                      <a:pt x="100475" y="261156"/>
                      <a:pt x="100998" y="259539"/>
                    </a:cubicBezTo>
                    <a:cubicBezTo>
                      <a:pt x="101521" y="257922"/>
                      <a:pt x="102043" y="256306"/>
                      <a:pt x="102603" y="254701"/>
                    </a:cubicBezTo>
                    <a:cubicBezTo>
                      <a:pt x="103137" y="253097"/>
                      <a:pt x="103709" y="251492"/>
                      <a:pt x="104292" y="249912"/>
                    </a:cubicBezTo>
                    <a:cubicBezTo>
                      <a:pt x="105374" y="246934"/>
                      <a:pt x="106529" y="243992"/>
                      <a:pt x="107720" y="241063"/>
                    </a:cubicBezTo>
                    <a:cubicBezTo>
                      <a:pt x="107805" y="240832"/>
                      <a:pt x="107914" y="240601"/>
                      <a:pt x="107999" y="240370"/>
                    </a:cubicBezTo>
                    <a:cubicBezTo>
                      <a:pt x="108619" y="238839"/>
                      <a:pt x="109276" y="237331"/>
                      <a:pt x="109944" y="235824"/>
                    </a:cubicBezTo>
                    <a:cubicBezTo>
                      <a:pt x="111281" y="232749"/>
                      <a:pt x="112704" y="229698"/>
                      <a:pt x="114174" y="226683"/>
                    </a:cubicBezTo>
                    <a:cubicBezTo>
                      <a:pt x="114661" y="225674"/>
                      <a:pt x="115159" y="224678"/>
                      <a:pt x="115682" y="223681"/>
                    </a:cubicBezTo>
                    <a:cubicBezTo>
                      <a:pt x="116168" y="222672"/>
                      <a:pt x="116690" y="221675"/>
                      <a:pt x="117213" y="220691"/>
                    </a:cubicBezTo>
                    <a:cubicBezTo>
                      <a:pt x="117724" y="219694"/>
                      <a:pt x="118246" y="218710"/>
                      <a:pt x="118781" y="217737"/>
                    </a:cubicBezTo>
                    <a:cubicBezTo>
                      <a:pt x="119267" y="216813"/>
                      <a:pt x="119766" y="215914"/>
                      <a:pt x="120276" y="215002"/>
                    </a:cubicBezTo>
                    <a:cubicBezTo>
                      <a:pt x="120848" y="213969"/>
                      <a:pt x="121443" y="212936"/>
                      <a:pt x="122039" y="211903"/>
                    </a:cubicBezTo>
                    <a:cubicBezTo>
                      <a:pt x="122671" y="210796"/>
                      <a:pt x="123315" y="209690"/>
                      <a:pt x="123984" y="208596"/>
                    </a:cubicBezTo>
                    <a:cubicBezTo>
                      <a:pt x="124470" y="207794"/>
                      <a:pt x="124956" y="206980"/>
                      <a:pt x="125454" y="206165"/>
                    </a:cubicBezTo>
                    <a:lnTo>
                      <a:pt x="127217" y="203333"/>
                    </a:lnTo>
                    <a:cubicBezTo>
                      <a:pt x="128591" y="201133"/>
                      <a:pt x="130025" y="198982"/>
                      <a:pt x="131471" y="196842"/>
                    </a:cubicBezTo>
                    <a:cubicBezTo>
                      <a:pt x="132152" y="195845"/>
                      <a:pt x="132833" y="194849"/>
                      <a:pt x="133526" y="193864"/>
                    </a:cubicBezTo>
                    <a:cubicBezTo>
                      <a:pt x="134255" y="192831"/>
                      <a:pt x="134984" y="191798"/>
                      <a:pt x="135726" y="190777"/>
                    </a:cubicBezTo>
                    <a:cubicBezTo>
                      <a:pt x="136467" y="189756"/>
                      <a:pt x="137209" y="188735"/>
                      <a:pt x="137974" y="187726"/>
                    </a:cubicBezTo>
                    <a:cubicBezTo>
                      <a:pt x="138521" y="186984"/>
                      <a:pt x="139068" y="186255"/>
                      <a:pt x="139640" y="185526"/>
                    </a:cubicBezTo>
                    <a:cubicBezTo>
                      <a:pt x="140612" y="184249"/>
                      <a:pt x="141609" y="182973"/>
                      <a:pt x="142605" y="181721"/>
                    </a:cubicBezTo>
                    <a:cubicBezTo>
                      <a:pt x="143396" y="180724"/>
                      <a:pt x="144186" y="179740"/>
                      <a:pt x="144988" y="178767"/>
                    </a:cubicBezTo>
                    <a:cubicBezTo>
                      <a:pt x="147382" y="175850"/>
                      <a:pt x="149850" y="172969"/>
                      <a:pt x="152378" y="170174"/>
                    </a:cubicBezTo>
                    <a:cubicBezTo>
                      <a:pt x="153217" y="169225"/>
                      <a:pt x="154080" y="168302"/>
                      <a:pt x="154943" y="167378"/>
                    </a:cubicBezTo>
                    <a:cubicBezTo>
                      <a:pt x="155782" y="166442"/>
                      <a:pt x="156657" y="165542"/>
                      <a:pt x="157532" y="164631"/>
                    </a:cubicBezTo>
                    <a:cubicBezTo>
                      <a:pt x="158395" y="163707"/>
                      <a:pt x="159270" y="162820"/>
                      <a:pt x="160158" y="161920"/>
                    </a:cubicBezTo>
                    <a:cubicBezTo>
                      <a:pt x="161726" y="160340"/>
                      <a:pt x="163306" y="158784"/>
                      <a:pt x="164923" y="157240"/>
                    </a:cubicBezTo>
                    <a:cubicBezTo>
                      <a:pt x="165421" y="156766"/>
                      <a:pt x="165919" y="156292"/>
                      <a:pt x="166418" y="155830"/>
                    </a:cubicBezTo>
                    <a:cubicBezTo>
                      <a:pt x="167062" y="155223"/>
                      <a:pt x="167694" y="154615"/>
                      <a:pt x="168338" y="154044"/>
                    </a:cubicBezTo>
                    <a:cubicBezTo>
                      <a:pt x="169165" y="153266"/>
                      <a:pt x="170016" y="152500"/>
                      <a:pt x="170866" y="151746"/>
                    </a:cubicBezTo>
                    <a:cubicBezTo>
                      <a:pt x="172836" y="149972"/>
                      <a:pt x="174829" y="148245"/>
                      <a:pt x="176847" y="146556"/>
                    </a:cubicBezTo>
                    <a:cubicBezTo>
                      <a:pt x="177807" y="145742"/>
                      <a:pt x="178780" y="144939"/>
                      <a:pt x="179752" y="144149"/>
                    </a:cubicBezTo>
                    <a:cubicBezTo>
                      <a:pt x="180882" y="143213"/>
                      <a:pt x="182025" y="142302"/>
                      <a:pt x="183180" y="141390"/>
                    </a:cubicBezTo>
                    <a:cubicBezTo>
                      <a:pt x="183873" y="140855"/>
                      <a:pt x="184553" y="140320"/>
                      <a:pt x="185258" y="139785"/>
                    </a:cubicBezTo>
                    <a:cubicBezTo>
                      <a:pt x="190461" y="135786"/>
                      <a:pt x="195845" y="131994"/>
                      <a:pt x="201364" y="128408"/>
                    </a:cubicBezTo>
                    <a:cubicBezTo>
                      <a:pt x="202361" y="127764"/>
                      <a:pt x="203370" y="127132"/>
                      <a:pt x="204378" y="126512"/>
                    </a:cubicBezTo>
                    <a:cubicBezTo>
                      <a:pt x="205193" y="125989"/>
                      <a:pt x="206020" y="125479"/>
                      <a:pt x="206858" y="124980"/>
                    </a:cubicBezTo>
                    <a:cubicBezTo>
                      <a:pt x="207454" y="124616"/>
                      <a:pt x="208062" y="124239"/>
                      <a:pt x="208657" y="123886"/>
                    </a:cubicBezTo>
                    <a:cubicBezTo>
                      <a:pt x="210480" y="122805"/>
                      <a:pt x="212316" y="121735"/>
                      <a:pt x="214188" y="120677"/>
                    </a:cubicBezTo>
                    <a:cubicBezTo>
                      <a:pt x="215294" y="120057"/>
                      <a:pt x="216412" y="119438"/>
                      <a:pt x="217518" y="118842"/>
                    </a:cubicBezTo>
                    <a:cubicBezTo>
                      <a:pt x="218637" y="118234"/>
                      <a:pt x="219767" y="117626"/>
                      <a:pt x="220885" y="117043"/>
                    </a:cubicBezTo>
                    <a:cubicBezTo>
                      <a:pt x="222903" y="115985"/>
                      <a:pt x="224933" y="114964"/>
                      <a:pt x="226987" y="113968"/>
                    </a:cubicBezTo>
                    <a:cubicBezTo>
                      <a:pt x="228495" y="113226"/>
                      <a:pt x="230002" y="112509"/>
                      <a:pt x="231533" y="111816"/>
                    </a:cubicBezTo>
                    <a:cubicBezTo>
                      <a:pt x="232567" y="111330"/>
                      <a:pt x="233600" y="110856"/>
                      <a:pt x="234645" y="110394"/>
                    </a:cubicBezTo>
                    <a:cubicBezTo>
                      <a:pt x="235812" y="109871"/>
                      <a:pt x="236979" y="109361"/>
                      <a:pt x="238158" y="108862"/>
                    </a:cubicBezTo>
                    <a:cubicBezTo>
                      <a:pt x="239544" y="108267"/>
                      <a:pt x="240954" y="107683"/>
                      <a:pt x="242376" y="107112"/>
                    </a:cubicBezTo>
                    <a:cubicBezTo>
                      <a:pt x="243348" y="106711"/>
                      <a:pt x="244321" y="106334"/>
                      <a:pt x="245281" y="105957"/>
                    </a:cubicBezTo>
                    <a:cubicBezTo>
                      <a:pt x="247663" y="105021"/>
                      <a:pt x="250070" y="104134"/>
                      <a:pt x="252489" y="103271"/>
                    </a:cubicBezTo>
                    <a:cubicBezTo>
                      <a:pt x="253364" y="102955"/>
                      <a:pt x="254264" y="102651"/>
                      <a:pt x="255139" y="102347"/>
                    </a:cubicBezTo>
                    <a:cubicBezTo>
                      <a:pt x="255990" y="102056"/>
                      <a:pt x="256853" y="101764"/>
                      <a:pt x="257716" y="101496"/>
                    </a:cubicBezTo>
                    <a:cubicBezTo>
                      <a:pt x="258433" y="101253"/>
                      <a:pt x="259150" y="101022"/>
                      <a:pt x="259855" y="100791"/>
                    </a:cubicBezTo>
                    <a:cubicBezTo>
                      <a:pt x="260791" y="100500"/>
                      <a:pt x="261715" y="100208"/>
                      <a:pt x="262651" y="99928"/>
                    </a:cubicBezTo>
                    <a:cubicBezTo>
                      <a:pt x="264377" y="99406"/>
                      <a:pt x="266115" y="98895"/>
                      <a:pt x="267841" y="98409"/>
                    </a:cubicBezTo>
                    <a:cubicBezTo>
                      <a:pt x="268862" y="98117"/>
                      <a:pt x="269883" y="97838"/>
                      <a:pt x="270916" y="97582"/>
                    </a:cubicBezTo>
                    <a:cubicBezTo>
                      <a:pt x="270965" y="97558"/>
                      <a:pt x="271014" y="97546"/>
                      <a:pt x="271087" y="97534"/>
                    </a:cubicBezTo>
                    <a:cubicBezTo>
                      <a:pt x="272302" y="97206"/>
                      <a:pt x="273542" y="96902"/>
                      <a:pt x="274757" y="96586"/>
                    </a:cubicBezTo>
                    <a:cubicBezTo>
                      <a:pt x="275620" y="96367"/>
                      <a:pt x="276496" y="96148"/>
                      <a:pt x="277371" y="95954"/>
                    </a:cubicBezTo>
                    <a:cubicBezTo>
                      <a:pt x="277675" y="95881"/>
                      <a:pt x="277991" y="95796"/>
                      <a:pt x="278319" y="95735"/>
                    </a:cubicBezTo>
                    <a:cubicBezTo>
                      <a:pt x="279255" y="95516"/>
                      <a:pt x="280179" y="95297"/>
                      <a:pt x="281115" y="95103"/>
                    </a:cubicBezTo>
                    <a:cubicBezTo>
                      <a:pt x="281188" y="95078"/>
                      <a:pt x="281273" y="95066"/>
                      <a:pt x="281346" y="95054"/>
                    </a:cubicBezTo>
                    <a:cubicBezTo>
                      <a:pt x="282269" y="94847"/>
                      <a:pt x="283181" y="94653"/>
                      <a:pt x="284105" y="94471"/>
                    </a:cubicBezTo>
                    <a:cubicBezTo>
                      <a:pt x="284226" y="94446"/>
                      <a:pt x="284360" y="94422"/>
                      <a:pt x="284494" y="94398"/>
                    </a:cubicBezTo>
                    <a:cubicBezTo>
                      <a:pt x="285430" y="94203"/>
                      <a:pt x="286354" y="94009"/>
                      <a:pt x="287302" y="93839"/>
                    </a:cubicBezTo>
                    <a:cubicBezTo>
                      <a:pt x="288238" y="93656"/>
                      <a:pt x="289161" y="93486"/>
                      <a:pt x="290097" y="93316"/>
                    </a:cubicBezTo>
                    <a:cubicBezTo>
                      <a:pt x="291179" y="93109"/>
                      <a:pt x="292285" y="92927"/>
                      <a:pt x="293367" y="92745"/>
                    </a:cubicBezTo>
                    <a:cubicBezTo>
                      <a:pt x="293756" y="92684"/>
                      <a:pt x="294121" y="92611"/>
                      <a:pt x="294485" y="92562"/>
                    </a:cubicBezTo>
                    <a:cubicBezTo>
                      <a:pt x="295567" y="92380"/>
                      <a:pt x="296673" y="92222"/>
                      <a:pt x="297755" y="92064"/>
                    </a:cubicBezTo>
                    <a:cubicBezTo>
                      <a:pt x="297852" y="92040"/>
                      <a:pt x="297974" y="92027"/>
                      <a:pt x="298071" y="92015"/>
                    </a:cubicBezTo>
                    <a:cubicBezTo>
                      <a:pt x="299311" y="91821"/>
                      <a:pt x="300563" y="91663"/>
                      <a:pt x="301815" y="91493"/>
                    </a:cubicBezTo>
                    <a:cubicBezTo>
                      <a:pt x="303091" y="91322"/>
                      <a:pt x="304355" y="91164"/>
                      <a:pt x="305644" y="91019"/>
                    </a:cubicBezTo>
                    <a:cubicBezTo>
                      <a:pt x="305680" y="91006"/>
                      <a:pt x="305717" y="91006"/>
                      <a:pt x="305778" y="91006"/>
                    </a:cubicBezTo>
                    <a:cubicBezTo>
                      <a:pt x="307090" y="90848"/>
                      <a:pt x="308403" y="90715"/>
                      <a:pt x="309740" y="90581"/>
                    </a:cubicBezTo>
                    <a:cubicBezTo>
                      <a:pt x="310688" y="90484"/>
                      <a:pt x="311636" y="90386"/>
                      <a:pt x="312597" y="90314"/>
                    </a:cubicBezTo>
                    <a:cubicBezTo>
                      <a:pt x="313387" y="90253"/>
                      <a:pt x="314177" y="90168"/>
                      <a:pt x="314967" y="90119"/>
                    </a:cubicBezTo>
                    <a:cubicBezTo>
                      <a:pt x="318747" y="89827"/>
                      <a:pt x="322552" y="89621"/>
                      <a:pt x="326381" y="89511"/>
                    </a:cubicBezTo>
                    <a:cubicBezTo>
                      <a:pt x="327438" y="89475"/>
                      <a:pt x="328496" y="89451"/>
                      <a:pt x="329578" y="89438"/>
                    </a:cubicBezTo>
                    <a:cubicBezTo>
                      <a:pt x="331024" y="89414"/>
                      <a:pt x="332458" y="89402"/>
                      <a:pt x="333917" y="89402"/>
                    </a:cubicBezTo>
                    <a:cubicBezTo>
                      <a:pt x="337795" y="89402"/>
                      <a:pt x="341660" y="89499"/>
                      <a:pt x="345501" y="89681"/>
                    </a:cubicBezTo>
                    <a:cubicBezTo>
                      <a:pt x="372850" y="90958"/>
                      <a:pt x="399021" y="96744"/>
                      <a:pt x="423295" y="106286"/>
                    </a:cubicBezTo>
                    <a:cubicBezTo>
                      <a:pt x="424279" y="106662"/>
                      <a:pt x="425264" y="107063"/>
                      <a:pt x="426236" y="107477"/>
                    </a:cubicBezTo>
                    <a:cubicBezTo>
                      <a:pt x="427038" y="107793"/>
                      <a:pt x="427829" y="108133"/>
                      <a:pt x="428607" y="108461"/>
                    </a:cubicBezTo>
                    <a:cubicBezTo>
                      <a:pt x="429737" y="108935"/>
                      <a:pt x="430867" y="109422"/>
                      <a:pt x="431986" y="109908"/>
                    </a:cubicBezTo>
                    <a:cubicBezTo>
                      <a:pt x="433140" y="110418"/>
                      <a:pt x="434283" y="110929"/>
                      <a:pt x="435413" y="111452"/>
                    </a:cubicBezTo>
                    <a:cubicBezTo>
                      <a:pt x="438063" y="112667"/>
                      <a:pt x="440701" y="113919"/>
                      <a:pt x="443302" y="115232"/>
                    </a:cubicBezTo>
                    <a:cubicBezTo>
                      <a:pt x="444226" y="115694"/>
                      <a:pt x="445150" y="116168"/>
                      <a:pt x="446074" y="116654"/>
                    </a:cubicBezTo>
                    <a:cubicBezTo>
                      <a:pt x="446997" y="117128"/>
                      <a:pt x="447921" y="117614"/>
                      <a:pt x="448833" y="118100"/>
                    </a:cubicBezTo>
                    <a:cubicBezTo>
                      <a:pt x="449915" y="118684"/>
                      <a:pt x="451009" y="119280"/>
                      <a:pt x="452078" y="119863"/>
                    </a:cubicBezTo>
                    <a:cubicBezTo>
                      <a:pt x="453245" y="120519"/>
                      <a:pt x="454400" y="121164"/>
                      <a:pt x="455555" y="121832"/>
                    </a:cubicBezTo>
                    <a:cubicBezTo>
                      <a:pt x="466397" y="128056"/>
                      <a:pt x="476717" y="135094"/>
                      <a:pt x="486417" y="142873"/>
                    </a:cubicBezTo>
                    <a:cubicBezTo>
                      <a:pt x="487122" y="143432"/>
                      <a:pt x="487827" y="143991"/>
                      <a:pt x="488508" y="144575"/>
                    </a:cubicBezTo>
                    <a:cubicBezTo>
                      <a:pt x="489796" y="145608"/>
                      <a:pt x="491060" y="146665"/>
                      <a:pt x="492312" y="147735"/>
                    </a:cubicBezTo>
                    <a:cubicBezTo>
                      <a:pt x="493090" y="148404"/>
                      <a:pt x="493868" y="149072"/>
                      <a:pt x="494646" y="149753"/>
                    </a:cubicBezTo>
                    <a:cubicBezTo>
                      <a:pt x="495424" y="150433"/>
                      <a:pt x="496190" y="151102"/>
                      <a:pt x="496956" y="151795"/>
                    </a:cubicBezTo>
                    <a:cubicBezTo>
                      <a:pt x="498511" y="153168"/>
                      <a:pt x="500031" y="154578"/>
                      <a:pt x="501538" y="156013"/>
                    </a:cubicBezTo>
                    <a:cubicBezTo>
                      <a:pt x="502280" y="156706"/>
                      <a:pt x="503021" y="157398"/>
                      <a:pt x="503750" y="158116"/>
                    </a:cubicBezTo>
                    <a:cubicBezTo>
                      <a:pt x="504492" y="158833"/>
                      <a:pt x="505233" y="159550"/>
                      <a:pt x="505963" y="160267"/>
                    </a:cubicBezTo>
                    <a:cubicBezTo>
                      <a:pt x="506668" y="160960"/>
                      <a:pt x="507348" y="161653"/>
                      <a:pt x="508041" y="162358"/>
                    </a:cubicBezTo>
                    <a:cubicBezTo>
                      <a:pt x="508734" y="163051"/>
                      <a:pt x="509415" y="163768"/>
                      <a:pt x="510095" y="164461"/>
                    </a:cubicBezTo>
                    <a:cubicBezTo>
                      <a:pt x="511955" y="166393"/>
                      <a:pt x="513778" y="168350"/>
                      <a:pt x="515589" y="170344"/>
                    </a:cubicBezTo>
                    <a:cubicBezTo>
                      <a:pt x="516416" y="171280"/>
                      <a:pt x="517243" y="172203"/>
                      <a:pt x="518081" y="173152"/>
                    </a:cubicBezTo>
                    <a:cubicBezTo>
                      <a:pt x="518288" y="173395"/>
                      <a:pt x="518507" y="173638"/>
                      <a:pt x="518701" y="173881"/>
                    </a:cubicBezTo>
                    <a:cubicBezTo>
                      <a:pt x="519321" y="174610"/>
                      <a:pt x="519953" y="175340"/>
                      <a:pt x="520573" y="176081"/>
                    </a:cubicBezTo>
                    <a:cubicBezTo>
                      <a:pt x="521023" y="176604"/>
                      <a:pt x="521448" y="177126"/>
                      <a:pt x="521886" y="177649"/>
                    </a:cubicBezTo>
                    <a:cubicBezTo>
                      <a:pt x="527550" y="184456"/>
                      <a:pt x="532850" y="191579"/>
                      <a:pt x="537761" y="198969"/>
                    </a:cubicBezTo>
                    <a:cubicBezTo>
                      <a:pt x="538466" y="200027"/>
                      <a:pt x="539146" y="201097"/>
                      <a:pt x="539839" y="202178"/>
                    </a:cubicBezTo>
                    <a:cubicBezTo>
                      <a:pt x="541334" y="204524"/>
                      <a:pt x="542805" y="206882"/>
                      <a:pt x="544215" y="209277"/>
                    </a:cubicBezTo>
                    <a:cubicBezTo>
                      <a:pt x="544677" y="210043"/>
                      <a:pt x="545127" y="210809"/>
                      <a:pt x="545552" y="211574"/>
                    </a:cubicBezTo>
                    <a:cubicBezTo>
                      <a:pt x="546585" y="213349"/>
                      <a:pt x="547594" y="215136"/>
                      <a:pt x="548579" y="216935"/>
                    </a:cubicBezTo>
                    <a:cubicBezTo>
                      <a:pt x="549016" y="217737"/>
                      <a:pt x="549442" y="218551"/>
                      <a:pt x="549880" y="219366"/>
                    </a:cubicBezTo>
                    <a:cubicBezTo>
                      <a:pt x="550706" y="220934"/>
                      <a:pt x="551521" y="222502"/>
                      <a:pt x="552335" y="224106"/>
                    </a:cubicBezTo>
                    <a:cubicBezTo>
                      <a:pt x="553003" y="225444"/>
                      <a:pt x="553660" y="226793"/>
                      <a:pt x="554316" y="228142"/>
                    </a:cubicBezTo>
                    <a:cubicBezTo>
                      <a:pt x="554620" y="228762"/>
                      <a:pt x="554924" y="229406"/>
                      <a:pt x="555228" y="230026"/>
                    </a:cubicBezTo>
                    <a:cubicBezTo>
                      <a:pt x="555653" y="230938"/>
                      <a:pt x="556067" y="231825"/>
                      <a:pt x="556480" y="232737"/>
                    </a:cubicBezTo>
                    <a:cubicBezTo>
                      <a:pt x="556893" y="233648"/>
                      <a:pt x="557294" y="234536"/>
                      <a:pt x="557695" y="235447"/>
                    </a:cubicBezTo>
                    <a:cubicBezTo>
                      <a:pt x="557707" y="235472"/>
                      <a:pt x="557720" y="235508"/>
                      <a:pt x="557732" y="235532"/>
                    </a:cubicBezTo>
                    <a:cubicBezTo>
                      <a:pt x="558522" y="237331"/>
                      <a:pt x="559288" y="239142"/>
                      <a:pt x="560041" y="240966"/>
                    </a:cubicBezTo>
                    <a:cubicBezTo>
                      <a:pt x="560430" y="241902"/>
                      <a:pt x="560807" y="242813"/>
                      <a:pt x="561160" y="243749"/>
                    </a:cubicBezTo>
                    <a:cubicBezTo>
                      <a:pt x="561524" y="244685"/>
                      <a:pt x="561901" y="245609"/>
                      <a:pt x="562254" y="246545"/>
                    </a:cubicBezTo>
                    <a:cubicBezTo>
                      <a:pt x="562606" y="247481"/>
                      <a:pt x="562959" y="248417"/>
                      <a:pt x="563299" y="249353"/>
                    </a:cubicBezTo>
                    <a:cubicBezTo>
                      <a:pt x="563651" y="250301"/>
                      <a:pt x="563992" y="251237"/>
                      <a:pt x="564320" y="252185"/>
                    </a:cubicBezTo>
                    <a:cubicBezTo>
                      <a:pt x="564818" y="253583"/>
                      <a:pt x="565305" y="254993"/>
                      <a:pt x="565779" y="256415"/>
                    </a:cubicBezTo>
                    <a:cubicBezTo>
                      <a:pt x="566107" y="257388"/>
                      <a:pt x="566435" y="258360"/>
                      <a:pt x="566739" y="259332"/>
                    </a:cubicBezTo>
                    <a:cubicBezTo>
                      <a:pt x="567031" y="260256"/>
                      <a:pt x="567310" y="261156"/>
                      <a:pt x="567590" y="262079"/>
                    </a:cubicBezTo>
                    <a:cubicBezTo>
                      <a:pt x="568015" y="263392"/>
                      <a:pt x="568392" y="264693"/>
                      <a:pt x="568769" y="266018"/>
                    </a:cubicBezTo>
                    <a:cubicBezTo>
                      <a:pt x="568866" y="266346"/>
                      <a:pt x="568963" y="266686"/>
                      <a:pt x="569060" y="267027"/>
                    </a:cubicBezTo>
                    <a:cubicBezTo>
                      <a:pt x="569291" y="267841"/>
                      <a:pt x="569522" y="268655"/>
                      <a:pt x="569741" y="269494"/>
                    </a:cubicBezTo>
                    <a:cubicBezTo>
                      <a:pt x="570288" y="271451"/>
                      <a:pt x="570799" y="273396"/>
                      <a:pt x="571273" y="275377"/>
                    </a:cubicBezTo>
                    <a:cubicBezTo>
                      <a:pt x="571759" y="277347"/>
                      <a:pt x="572221" y="279316"/>
                      <a:pt x="572646" y="281309"/>
                    </a:cubicBezTo>
                    <a:cubicBezTo>
                      <a:pt x="572865" y="282306"/>
                      <a:pt x="573084" y="283303"/>
                      <a:pt x="573291" y="284311"/>
                    </a:cubicBezTo>
                    <a:cubicBezTo>
                      <a:pt x="573497" y="285308"/>
                      <a:pt x="573692" y="286317"/>
                      <a:pt x="573886" y="287314"/>
                    </a:cubicBezTo>
                    <a:cubicBezTo>
                      <a:pt x="574081" y="288323"/>
                      <a:pt x="574251" y="289332"/>
                      <a:pt x="574445" y="290340"/>
                    </a:cubicBezTo>
                    <a:cubicBezTo>
                      <a:pt x="574615" y="291313"/>
                      <a:pt x="574774" y="292285"/>
                      <a:pt x="574956" y="293246"/>
                    </a:cubicBezTo>
                    <a:cubicBezTo>
                      <a:pt x="574956" y="293331"/>
                      <a:pt x="574968" y="293416"/>
                      <a:pt x="574992" y="293501"/>
                    </a:cubicBezTo>
                    <a:cubicBezTo>
                      <a:pt x="575150" y="294473"/>
                      <a:pt x="575296" y="295446"/>
                      <a:pt x="575454" y="296406"/>
                    </a:cubicBezTo>
                    <a:cubicBezTo>
                      <a:pt x="575612" y="297415"/>
                      <a:pt x="575758" y="298436"/>
                      <a:pt x="575904" y="299457"/>
                    </a:cubicBezTo>
                    <a:cubicBezTo>
                      <a:pt x="576050" y="300478"/>
                      <a:pt x="576184" y="301499"/>
                      <a:pt x="576317" y="302532"/>
                    </a:cubicBezTo>
                    <a:cubicBezTo>
                      <a:pt x="576585" y="304574"/>
                      <a:pt x="576816" y="306628"/>
                      <a:pt x="577034" y="308695"/>
                    </a:cubicBezTo>
                    <a:cubicBezTo>
                      <a:pt x="577132" y="309728"/>
                      <a:pt x="577241" y="310761"/>
                      <a:pt x="577326" y="311794"/>
                    </a:cubicBezTo>
                    <a:cubicBezTo>
                      <a:pt x="577508" y="313727"/>
                      <a:pt x="577654" y="315660"/>
                      <a:pt x="577788" y="317605"/>
                    </a:cubicBezTo>
                    <a:cubicBezTo>
                      <a:pt x="577788" y="317799"/>
                      <a:pt x="577800" y="317969"/>
                      <a:pt x="577812" y="318152"/>
                    </a:cubicBezTo>
                    <a:cubicBezTo>
                      <a:pt x="577873" y="319027"/>
                      <a:pt x="577922" y="319902"/>
                      <a:pt x="577970" y="320777"/>
                    </a:cubicBezTo>
                    <a:cubicBezTo>
                      <a:pt x="577995" y="321251"/>
                      <a:pt x="578019" y="321737"/>
                      <a:pt x="578043" y="322212"/>
                    </a:cubicBezTo>
                    <a:cubicBezTo>
                      <a:pt x="578080" y="322917"/>
                      <a:pt x="578116" y="323622"/>
                      <a:pt x="578128" y="324327"/>
                    </a:cubicBezTo>
                    <a:cubicBezTo>
                      <a:pt x="578165" y="325518"/>
                      <a:pt x="578201" y="326709"/>
                      <a:pt x="578238" y="327912"/>
                    </a:cubicBezTo>
                    <a:cubicBezTo>
                      <a:pt x="578250" y="328824"/>
                      <a:pt x="578274" y="329736"/>
                      <a:pt x="578274" y="330647"/>
                    </a:cubicBezTo>
                    <a:cubicBezTo>
                      <a:pt x="578286" y="331705"/>
                      <a:pt x="578299" y="332762"/>
                      <a:pt x="578299" y="333820"/>
                    </a:cubicBezTo>
                    <a:cubicBezTo>
                      <a:pt x="578299" y="334877"/>
                      <a:pt x="578286" y="335935"/>
                      <a:pt x="578274" y="336992"/>
                    </a:cubicBezTo>
                    <a:cubicBezTo>
                      <a:pt x="578274" y="337904"/>
                      <a:pt x="578250" y="338816"/>
                      <a:pt x="578238" y="339727"/>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06" name="Freeform: Shape 105">
                <a:extLst>
                  <a:ext uri="{FF2B5EF4-FFF2-40B4-BE49-F238E27FC236}">
                    <a16:creationId xmlns:a16="http://schemas.microsoft.com/office/drawing/2014/main" id="{C185BE4D-DDDF-A110-2278-E78B23508A4A}"/>
                  </a:ext>
                </a:extLst>
              </p:cNvPr>
              <p:cNvSpPr/>
              <p:nvPr/>
            </p:nvSpPr>
            <p:spPr>
              <a:xfrm>
                <a:off x="4617810" y="2877460"/>
                <a:ext cx="104083" cy="249069"/>
              </a:xfrm>
              <a:custGeom>
                <a:avLst/>
                <a:gdLst>
                  <a:gd name="connsiteX0" fmla="*/ 167598 w 178758"/>
                  <a:gd name="connsiteY0" fmla="*/ 410933 h 427767"/>
                  <a:gd name="connsiteX1" fmla="*/ 138304 w 178758"/>
                  <a:gd name="connsiteY1" fmla="*/ 427257 h 427767"/>
                  <a:gd name="connsiteX2" fmla="*/ 131375 w 178758"/>
                  <a:gd name="connsiteY2" fmla="*/ 427768 h 427767"/>
                  <a:gd name="connsiteX3" fmla="*/ 47394 w 178758"/>
                  <a:gd name="connsiteY3" fmla="*/ 427768 h 427767"/>
                  <a:gd name="connsiteX4" fmla="*/ 13 w 178758"/>
                  <a:gd name="connsiteY4" fmla="*/ 379244 h 427767"/>
                  <a:gd name="connsiteX5" fmla="*/ 110 w 178758"/>
                  <a:gd name="connsiteY5" fmla="*/ 374990 h 427767"/>
                  <a:gd name="connsiteX6" fmla="*/ 1156 w 178758"/>
                  <a:gd name="connsiteY6" fmla="*/ 331170 h 427767"/>
                  <a:gd name="connsiteX7" fmla="*/ 1168 w 178758"/>
                  <a:gd name="connsiteY7" fmla="*/ 331170 h 427767"/>
                  <a:gd name="connsiteX8" fmla="*/ 4729 w 178758"/>
                  <a:gd name="connsiteY8" fmla="*/ 181551 h 427767"/>
                  <a:gd name="connsiteX9" fmla="*/ 6407 w 178758"/>
                  <a:gd name="connsiteY9" fmla="*/ 111683 h 427767"/>
                  <a:gd name="connsiteX10" fmla="*/ 7391 w 178758"/>
                  <a:gd name="connsiteY10" fmla="*/ 102919 h 427767"/>
                  <a:gd name="connsiteX11" fmla="*/ 14976 w 178758"/>
                  <a:gd name="connsiteY11" fmla="*/ 84771 h 427767"/>
                  <a:gd name="connsiteX12" fmla="*/ 21273 w 178758"/>
                  <a:gd name="connsiteY12" fmla="*/ 77149 h 427767"/>
                  <a:gd name="connsiteX13" fmla="*/ 21333 w 178758"/>
                  <a:gd name="connsiteY13" fmla="*/ 77089 h 427767"/>
                  <a:gd name="connsiteX14" fmla="*/ 21419 w 178758"/>
                  <a:gd name="connsiteY14" fmla="*/ 77004 h 427767"/>
                  <a:gd name="connsiteX15" fmla="*/ 40575 w 178758"/>
                  <a:gd name="connsiteY15" fmla="*/ 65176 h 427767"/>
                  <a:gd name="connsiteX16" fmla="*/ 40575 w 178758"/>
                  <a:gd name="connsiteY16" fmla="*/ 12 h 427767"/>
                  <a:gd name="connsiteX17" fmla="*/ 89391 w 178758"/>
                  <a:gd name="connsiteY17" fmla="*/ 3574 h 427767"/>
                  <a:gd name="connsiteX18" fmla="*/ 100975 w 178758"/>
                  <a:gd name="connsiteY18" fmla="*/ 3367 h 427767"/>
                  <a:gd name="connsiteX19" fmla="*/ 138267 w 178758"/>
                  <a:gd name="connsiteY19" fmla="*/ 0 h 427767"/>
                  <a:gd name="connsiteX20" fmla="*/ 138267 w 178758"/>
                  <a:gd name="connsiteY20" fmla="*/ 65201 h 427767"/>
                  <a:gd name="connsiteX21" fmla="*/ 172362 w 178758"/>
                  <a:gd name="connsiteY21" fmla="*/ 111695 h 427767"/>
                  <a:gd name="connsiteX22" fmla="*/ 177614 w 178758"/>
                  <a:gd name="connsiteY22" fmla="*/ 331182 h 427767"/>
                  <a:gd name="connsiteX23" fmla="*/ 178744 w 178758"/>
                  <a:gd name="connsiteY23" fmla="*/ 379256 h 427767"/>
                  <a:gd name="connsiteX24" fmla="*/ 167585 w 178758"/>
                  <a:gd name="connsiteY24" fmla="*/ 410945 h 42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58" h="427767">
                    <a:moveTo>
                      <a:pt x="167598" y="410933"/>
                    </a:moveTo>
                    <a:cubicBezTo>
                      <a:pt x="160317" y="419563"/>
                      <a:pt x="150021" y="425543"/>
                      <a:pt x="138304" y="427257"/>
                    </a:cubicBezTo>
                    <a:cubicBezTo>
                      <a:pt x="136043" y="427598"/>
                      <a:pt x="133721" y="427768"/>
                      <a:pt x="131375" y="427768"/>
                    </a:cubicBezTo>
                    <a:lnTo>
                      <a:pt x="47394" y="427768"/>
                    </a:lnTo>
                    <a:cubicBezTo>
                      <a:pt x="20787" y="427768"/>
                      <a:pt x="-607" y="405852"/>
                      <a:pt x="13" y="379244"/>
                    </a:cubicBezTo>
                    <a:lnTo>
                      <a:pt x="110" y="374990"/>
                    </a:lnTo>
                    <a:lnTo>
                      <a:pt x="1156" y="331170"/>
                    </a:lnTo>
                    <a:lnTo>
                      <a:pt x="1168" y="331170"/>
                    </a:lnTo>
                    <a:lnTo>
                      <a:pt x="4729" y="181551"/>
                    </a:lnTo>
                    <a:lnTo>
                      <a:pt x="6407" y="111683"/>
                    </a:lnTo>
                    <a:cubicBezTo>
                      <a:pt x="6468" y="108680"/>
                      <a:pt x="6820" y="105763"/>
                      <a:pt x="7391" y="102919"/>
                    </a:cubicBezTo>
                    <a:cubicBezTo>
                      <a:pt x="8716" y="96306"/>
                      <a:pt x="11330" y="90168"/>
                      <a:pt x="14976" y="84771"/>
                    </a:cubicBezTo>
                    <a:cubicBezTo>
                      <a:pt x="16824" y="82024"/>
                      <a:pt x="18939" y="79471"/>
                      <a:pt x="21273" y="77149"/>
                    </a:cubicBezTo>
                    <a:cubicBezTo>
                      <a:pt x="21297" y="77125"/>
                      <a:pt x="21309" y="77101"/>
                      <a:pt x="21333" y="77089"/>
                    </a:cubicBezTo>
                    <a:cubicBezTo>
                      <a:pt x="21358" y="77052"/>
                      <a:pt x="21394" y="77028"/>
                      <a:pt x="21419" y="77004"/>
                    </a:cubicBezTo>
                    <a:cubicBezTo>
                      <a:pt x="26779" y="71728"/>
                      <a:pt x="33306" y="67644"/>
                      <a:pt x="40575" y="65176"/>
                    </a:cubicBezTo>
                    <a:lnTo>
                      <a:pt x="40575" y="12"/>
                    </a:lnTo>
                    <a:cubicBezTo>
                      <a:pt x="56511" y="2346"/>
                      <a:pt x="72799" y="3574"/>
                      <a:pt x="89391" y="3574"/>
                    </a:cubicBezTo>
                    <a:cubicBezTo>
                      <a:pt x="93268" y="3574"/>
                      <a:pt x="97134" y="3513"/>
                      <a:pt x="100975" y="3367"/>
                    </a:cubicBezTo>
                    <a:cubicBezTo>
                      <a:pt x="113604" y="2929"/>
                      <a:pt x="126039" y="1799"/>
                      <a:pt x="138267" y="0"/>
                    </a:cubicBezTo>
                    <a:lnTo>
                      <a:pt x="138267" y="65201"/>
                    </a:lnTo>
                    <a:cubicBezTo>
                      <a:pt x="157715" y="71850"/>
                      <a:pt x="171852" y="90034"/>
                      <a:pt x="172362" y="111695"/>
                    </a:cubicBezTo>
                    <a:lnTo>
                      <a:pt x="177614" y="331182"/>
                    </a:lnTo>
                    <a:lnTo>
                      <a:pt x="178744" y="379256"/>
                    </a:lnTo>
                    <a:cubicBezTo>
                      <a:pt x="179036" y="391314"/>
                      <a:pt x="174806" y="402424"/>
                      <a:pt x="167585" y="410945"/>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grpSp>
    </p:spTree>
    <p:extLst>
      <p:ext uri="{BB962C8B-B14F-4D97-AF65-F5344CB8AC3E}">
        <p14:creationId xmlns:p14="http://schemas.microsoft.com/office/powerpoint/2010/main" val="25822363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C4DBD3-397B-28C7-DE1A-AE25120E2317}"/>
              </a:ext>
            </a:extLst>
          </p:cNvPr>
          <p:cNvSpPr>
            <a:spLocks noGrp="1"/>
          </p:cNvSpPr>
          <p:nvPr>
            <p:ph type="body" sz="quarter" idx="13"/>
          </p:nvPr>
        </p:nvSpPr>
        <p:spPr/>
        <p:txBody>
          <a:bodyPr/>
          <a:lstStyle/>
          <a:p>
            <a:r>
              <a:rPr lang="en-GB" b="1" dirty="0">
                <a:solidFill>
                  <a:srgbClr val="FF0000"/>
                </a:solidFill>
              </a:rPr>
              <a:t>Step 5 – Recognise revenue</a:t>
            </a:r>
          </a:p>
          <a:p>
            <a:endParaRPr lang="en-GB" b="1" dirty="0">
              <a:solidFill>
                <a:srgbClr val="FF0000"/>
              </a:solidFill>
            </a:endParaRPr>
          </a:p>
        </p:txBody>
      </p:sp>
      <p:grpSp>
        <p:nvGrpSpPr>
          <p:cNvPr id="113" name="Group 112">
            <a:extLst>
              <a:ext uri="{FF2B5EF4-FFF2-40B4-BE49-F238E27FC236}">
                <a16:creationId xmlns:a16="http://schemas.microsoft.com/office/drawing/2014/main" id="{98BF77D8-A807-80BD-D86E-3BC949AF89BF}"/>
              </a:ext>
            </a:extLst>
          </p:cNvPr>
          <p:cNvGrpSpPr/>
          <p:nvPr/>
        </p:nvGrpSpPr>
        <p:grpSpPr>
          <a:xfrm>
            <a:off x="184630" y="1227908"/>
            <a:ext cx="9209741" cy="5105400"/>
            <a:chOff x="-54" y="1219199"/>
            <a:chExt cx="6248449" cy="5105400"/>
          </a:xfrm>
          <a:noFill/>
        </p:grpSpPr>
        <p:sp>
          <p:nvSpPr>
            <p:cNvPr id="105" name="Rectangle 104">
              <a:extLst>
                <a:ext uri="{FF2B5EF4-FFF2-40B4-BE49-F238E27FC236}">
                  <a16:creationId xmlns:a16="http://schemas.microsoft.com/office/drawing/2014/main" id="{BCBD7AF9-3FC2-A85A-2E9E-89C9B5E3D1FB}"/>
                </a:ext>
              </a:extLst>
            </p:cNvPr>
            <p:cNvSpPr/>
            <p:nvPr/>
          </p:nvSpPr>
          <p:spPr bwMode="gray">
            <a:xfrm>
              <a:off x="-54" y="3751194"/>
              <a:ext cx="6248449" cy="2573405"/>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06" name="Rectangle 105">
              <a:extLst>
                <a:ext uri="{FF2B5EF4-FFF2-40B4-BE49-F238E27FC236}">
                  <a16:creationId xmlns:a16="http://schemas.microsoft.com/office/drawing/2014/main" id="{00DC7B19-60AA-14A1-2C30-4B3F1089A54D}"/>
                </a:ext>
              </a:extLst>
            </p:cNvPr>
            <p:cNvSpPr/>
            <p:nvPr/>
          </p:nvSpPr>
          <p:spPr bwMode="gray">
            <a:xfrm>
              <a:off x="-54" y="1219199"/>
              <a:ext cx="6248449" cy="2531993"/>
            </a:xfrm>
            <a:prstGeom prst="rect">
              <a:avLst/>
            </a:prstGeom>
            <a:grpFill/>
            <a:ln w="19050" algn="ctr">
              <a:noFill/>
              <a:miter lim="800000"/>
              <a:headEnd/>
              <a:tailEnd/>
            </a:ln>
          </p:spPr>
          <p:txBody>
            <a:bodyPr wrap="square" lIns="1737360" tIns="88900" rIns="182880" bIns="88900" rtlCol="0" anchor="ctr"/>
            <a:lstStyle/>
            <a:p>
              <a:pPr marL="0" marR="0" lvl="1" indent="0" algn="l" defTabSz="914400" rtl="0" eaLnBrk="1" fontAlgn="auto" latinLnBrk="0" hangingPunct="1">
                <a:lnSpc>
                  <a:spcPct val="100000"/>
                </a:lnSpc>
                <a:spcBef>
                  <a:spcPts val="600"/>
                </a:spcBef>
                <a:spcAft>
                  <a:spcPts val="600"/>
                </a:spcAft>
                <a:buClrTx/>
                <a:buSzPct val="100000"/>
                <a:buFontTx/>
                <a:buNone/>
                <a:tabLst/>
                <a:defRPr/>
              </a:pPr>
              <a:endParaRPr kumimoji="0" lang="en-US" sz="1800" b="1" i="0" u="none" strike="noStrike" kern="1200" cap="none" spc="0" normalizeH="0" baseline="0" noProof="0" dirty="0">
                <a:ln>
                  <a:noFill/>
                </a:ln>
                <a:solidFill>
                  <a:srgbClr val="000000"/>
                </a:solidFill>
                <a:effectLst/>
                <a:uLnTx/>
                <a:uFillTx/>
                <a:latin typeface="Aptos Display" panose="02110004020202020204"/>
                <a:ea typeface="Verdana" panose="020B0604030504040204" pitchFamily="34" charset="0"/>
                <a:cs typeface="Verdana" panose="020B0604030504040204" pitchFamily="34" charset="0"/>
              </a:endParaRPr>
            </a:p>
          </p:txBody>
        </p:sp>
      </p:grpSp>
      <p:sp>
        <p:nvSpPr>
          <p:cNvPr id="107" name="TextBox 106">
            <a:extLst>
              <a:ext uri="{FF2B5EF4-FFF2-40B4-BE49-F238E27FC236}">
                <a16:creationId xmlns:a16="http://schemas.microsoft.com/office/drawing/2014/main" id="{50F98670-1475-585F-C25F-6677A604E8ED}"/>
              </a:ext>
            </a:extLst>
          </p:cNvPr>
          <p:cNvSpPr txBox="1"/>
          <p:nvPr/>
        </p:nvSpPr>
        <p:spPr>
          <a:xfrm>
            <a:off x="465058" y="4068400"/>
            <a:ext cx="8929312" cy="1092607"/>
          </a:xfrm>
          <a:prstGeom prst="rect">
            <a:avLst/>
          </a:prstGeom>
          <a:noFill/>
        </p:spPr>
        <p:txBody>
          <a:bodyPr wrap="square" lIns="0" rtlCol="0">
            <a:spAutoFit/>
          </a:bodyPr>
          <a:lstStyle/>
          <a:p>
            <a:pPr marL="0" marR="0" lvl="2" indent="0" algn="l" defTabSz="914400" rtl="0" eaLnBrk="1" fontAlgn="auto" latinLnBrk="0" hangingPunct="1">
              <a:lnSpc>
                <a:spcPct val="100000"/>
              </a:lnSpc>
              <a:spcBef>
                <a:spcPts val="0"/>
              </a:spcBef>
              <a:spcAft>
                <a:spcPts val="600"/>
              </a:spcAft>
              <a:buClrTx/>
              <a:buSzTx/>
              <a:buFontTx/>
              <a:buNone/>
              <a:tabLst/>
              <a:defRPr/>
            </a:pPr>
            <a:endParaRPr kumimoji="0" lang="en-GB" sz="10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ysClr val="windowText" lastClr="000000"/>
                </a:solidFill>
                <a:effectLst/>
                <a:uLnTx/>
                <a:uFillTx/>
                <a:latin typeface="Aptos" panose="02110004020202020204"/>
                <a:ea typeface="+mn-ea"/>
                <a:cs typeface="+mn-cs"/>
              </a:rPr>
              <a:t>Ongoing Managed Services (Repair, Help Desk, Administration)</a:t>
            </a:r>
            <a:r>
              <a:rPr kumimoji="0" lang="en-US" sz="1000" b="0" i="0" u="none" strike="noStrike" kern="1200" cap="none" spc="0" normalizeH="0" baseline="0" noProof="0" dirty="0">
                <a:ln>
                  <a:noFill/>
                </a:ln>
                <a:solidFill>
                  <a:sysClr val="windowText" lastClr="000000"/>
                </a:solidFill>
                <a:effectLst/>
                <a:uLnTx/>
                <a:uFillTx/>
                <a:latin typeface="Aptos" panose="02110004020202020204"/>
                <a:ea typeface="+mn-ea"/>
                <a:cs typeface="+mn-cs"/>
              </a:rPr>
              <a:t>: As service provider stands ready to provide (and does provide, when needed) repair, help desk, and administration services throughout the month, the customer simultaneously receives and consumes the benefit of this "stand-ready" oblig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ysClr val="windowText" lastClr="000000"/>
              </a:solidFill>
              <a:effectLs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00" b="1" i="0" u="none" strike="noStrike" kern="1200" cap="none" spc="0" normalizeH="0" baseline="0" noProof="0" dirty="0">
                <a:ln>
                  <a:noFill/>
                </a:ln>
                <a:solidFill>
                  <a:sysClr val="windowText" lastClr="000000"/>
                </a:solidFill>
                <a:effectLst/>
                <a:uLnTx/>
                <a:uFillTx/>
                <a:latin typeface="Aptos" panose="02110004020202020204"/>
                <a:ea typeface="+mn-ea"/>
                <a:cs typeface="+mn-cs"/>
              </a:rPr>
              <a:t>Mobile Phone Contract (Mobile Communications Services)</a:t>
            </a:r>
            <a:r>
              <a:rPr kumimoji="0" lang="en-US" sz="1000" b="0" i="0" u="none" strike="noStrike" kern="1200" cap="none" spc="0" normalizeH="0" baseline="0" noProof="0" dirty="0">
                <a:ln>
                  <a:noFill/>
                </a:ln>
                <a:solidFill>
                  <a:sysClr val="windowText" lastClr="000000"/>
                </a:solidFill>
                <a:effectLst/>
                <a:uLnTx/>
                <a:uFillTx/>
                <a:latin typeface="Aptos" panose="02110004020202020204"/>
                <a:ea typeface="+mn-ea"/>
                <a:cs typeface="+mn-cs"/>
              </a:rPr>
              <a:t>: As Vodafone provides network access and the ability to make calls, send messages, and use data throughout the month, the customer continuously receives and consumes these benefits. </a:t>
            </a:r>
            <a:endParaRPr kumimoji="0" lang="en-GB"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2" name="TextBox 111">
            <a:extLst>
              <a:ext uri="{FF2B5EF4-FFF2-40B4-BE49-F238E27FC236}">
                <a16:creationId xmlns:a16="http://schemas.microsoft.com/office/drawing/2014/main" id="{880ABCA5-021C-3124-CF37-D13EE538B8BF}"/>
              </a:ext>
            </a:extLst>
          </p:cNvPr>
          <p:cNvSpPr txBox="1"/>
          <p:nvPr/>
        </p:nvSpPr>
        <p:spPr>
          <a:xfrm>
            <a:off x="465057" y="1299748"/>
            <a:ext cx="8929313" cy="766107"/>
          </a:xfrm>
          <a:prstGeom prst="rect">
            <a:avLst/>
          </a:prstGeom>
          <a:noFill/>
        </p:spPr>
        <p:txBody>
          <a:bodyPr wrap="square" lIns="0" rtlCol="0">
            <a:spAutoFit/>
          </a:bodyPr>
          <a:lstStyle/>
          <a:p>
            <a:pPr marL="0" marR="0" lvl="2"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For each performance obligation in a contract, Vodafone first determines whether the </a:t>
            </a:r>
            <a:r>
              <a:rPr kumimoji="0" lang="en-GB" sz="1200" b="1" i="0" u="none" strike="noStrike" kern="1200" cap="none" spc="0" normalizeH="0" baseline="0" noProof="0" dirty="0">
                <a:ln>
                  <a:noFill/>
                </a:ln>
                <a:solidFill>
                  <a:prstClr val="black"/>
                </a:solidFill>
                <a:effectLst/>
                <a:uLnTx/>
                <a:uFillTx/>
                <a:latin typeface="Aptos" panose="02110004020202020204"/>
                <a:ea typeface="+mn-ea"/>
                <a:cs typeface="+mn-cs"/>
              </a:rPr>
              <a:t>performance obligation is satisfied over time</a:t>
            </a: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 – i.e. control of the good or service transfers to the customer over time </a:t>
            </a:r>
            <a:r>
              <a:rPr kumimoji="0" lang="en-GB" sz="1200" b="1" i="0" u="none" strike="noStrike" kern="1200" cap="none" spc="0" normalizeH="0" baseline="0" noProof="0" dirty="0">
                <a:ln>
                  <a:noFill/>
                </a:ln>
                <a:solidFill>
                  <a:prstClr val="black"/>
                </a:solidFill>
                <a:effectLst/>
                <a:uLnTx/>
                <a:uFillTx/>
                <a:latin typeface="Aptos" panose="02110004020202020204"/>
                <a:ea typeface="+mn-ea"/>
                <a:cs typeface="+mn-cs"/>
              </a:rPr>
              <a:t>if not</a:t>
            </a: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 then control transfers at </a:t>
            </a:r>
            <a:r>
              <a:rPr kumimoji="0" lang="en-GB" sz="1200" b="1" i="0" u="none" strike="noStrike" kern="1200" cap="none" spc="0" normalizeH="0" baseline="0" noProof="0" dirty="0">
                <a:ln>
                  <a:noFill/>
                </a:ln>
                <a:solidFill>
                  <a:prstClr val="black"/>
                </a:solidFill>
                <a:effectLst/>
                <a:uLnTx/>
                <a:uFillTx/>
                <a:latin typeface="Aptos" panose="02110004020202020204"/>
                <a:ea typeface="+mn-ea"/>
                <a:cs typeface="+mn-cs"/>
              </a:rPr>
              <a:t>a point in time</a:t>
            </a:r>
          </a:p>
          <a:p>
            <a:pPr marL="0" marR="0" lvl="2"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90" name="Group 89">
            <a:extLst>
              <a:ext uri="{FF2B5EF4-FFF2-40B4-BE49-F238E27FC236}">
                <a16:creationId xmlns:a16="http://schemas.microsoft.com/office/drawing/2014/main" id="{7E7D4196-7D2F-6D56-A9B6-F7CAE2DF8DFA}"/>
              </a:ext>
            </a:extLst>
          </p:cNvPr>
          <p:cNvGrpSpPr/>
          <p:nvPr/>
        </p:nvGrpSpPr>
        <p:grpSpPr>
          <a:xfrm>
            <a:off x="3757827" y="2433607"/>
            <a:ext cx="1171886" cy="1172047"/>
            <a:chOff x="4882249" y="2120832"/>
            <a:chExt cx="1171886" cy="1172047"/>
          </a:xfrm>
        </p:grpSpPr>
        <p:sp>
          <p:nvSpPr>
            <p:cNvPr id="160" name="Freeform: Shape 159">
              <a:extLst>
                <a:ext uri="{FF2B5EF4-FFF2-40B4-BE49-F238E27FC236}">
                  <a16:creationId xmlns:a16="http://schemas.microsoft.com/office/drawing/2014/main" id="{32BBEADB-7A3F-3A8E-43AF-6D2FD0B123DF}"/>
                </a:ext>
              </a:extLst>
            </p:cNvPr>
            <p:cNvSpPr/>
            <p:nvPr/>
          </p:nvSpPr>
          <p:spPr>
            <a:xfrm>
              <a:off x="4918619" y="3017389"/>
              <a:ext cx="106239" cy="275426"/>
            </a:xfrm>
            <a:custGeom>
              <a:avLst/>
              <a:gdLst>
                <a:gd name="connsiteX0" fmla="*/ 23085 w 23085"/>
                <a:gd name="connsiteY0" fmla="*/ 57905 h 59848"/>
                <a:gd name="connsiteX1" fmla="*/ 23085 w 23085"/>
                <a:gd name="connsiteY1" fmla="*/ 5349 h 59848"/>
                <a:gd name="connsiteX2" fmla="*/ 21312 w 23085"/>
                <a:gd name="connsiteY2" fmla="*/ 3405 h 59848"/>
                <a:gd name="connsiteX3" fmla="*/ 13948 w 23085"/>
                <a:gd name="connsiteY3" fmla="*/ 2497 h 59848"/>
                <a:gd name="connsiteX4" fmla="*/ 2469 w 23085"/>
                <a:gd name="connsiteY4" fmla="*/ 70 h 59848"/>
                <a:gd name="connsiteX5" fmla="*/ 0 w 23085"/>
                <a:gd name="connsiteY5" fmla="*/ 1958 h 59848"/>
                <a:gd name="connsiteX6" fmla="*/ 0 w 23085"/>
                <a:gd name="connsiteY6" fmla="*/ 57905 h 59848"/>
                <a:gd name="connsiteX7" fmla="*/ 1958 w 23085"/>
                <a:gd name="connsiteY7" fmla="*/ 59849 h 59848"/>
                <a:gd name="connsiteX8" fmla="*/ 21127 w 23085"/>
                <a:gd name="connsiteY8" fmla="*/ 59849 h 59848"/>
                <a:gd name="connsiteX9" fmla="*/ 23085 w 23085"/>
                <a:gd name="connsiteY9" fmla="*/ 57905 h 59848"/>
                <a:gd name="connsiteX10" fmla="*/ 23085 w 23085"/>
                <a:gd name="connsiteY10" fmla="*/ 57905 h 5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85" h="59848">
                  <a:moveTo>
                    <a:pt x="23085" y="57905"/>
                  </a:moveTo>
                  <a:lnTo>
                    <a:pt x="23085" y="5349"/>
                  </a:lnTo>
                  <a:cubicBezTo>
                    <a:pt x="23085" y="4341"/>
                    <a:pt x="22319" y="3490"/>
                    <a:pt x="21312" y="3405"/>
                  </a:cubicBezTo>
                  <a:cubicBezTo>
                    <a:pt x="18815" y="3178"/>
                    <a:pt x="16374" y="2866"/>
                    <a:pt x="13948" y="2497"/>
                  </a:cubicBezTo>
                  <a:cubicBezTo>
                    <a:pt x="10103" y="1901"/>
                    <a:pt x="6257" y="1106"/>
                    <a:pt x="2469" y="70"/>
                  </a:cubicBezTo>
                  <a:cubicBezTo>
                    <a:pt x="1220" y="-270"/>
                    <a:pt x="0" y="666"/>
                    <a:pt x="0" y="1958"/>
                  </a:cubicBezTo>
                  <a:lnTo>
                    <a:pt x="0" y="57905"/>
                  </a:lnTo>
                  <a:cubicBezTo>
                    <a:pt x="0" y="58983"/>
                    <a:pt x="880" y="59849"/>
                    <a:pt x="1958" y="59849"/>
                  </a:cubicBezTo>
                  <a:lnTo>
                    <a:pt x="21127" y="59849"/>
                  </a:lnTo>
                  <a:cubicBezTo>
                    <a:pt x="22220" y="59849"/>
                    <a:pt x="23085" y="58969"/>
                    <a:pt x="23085" y="57905"/>
                  </a:cubicBezTo>
                  <a:lnTo>
                    <a:pt x="23085" y="57905"/>
                  </a:lnTo>
                  <a:close/>
                </a:path>
              </a:pathLst>
            </a:custGeom>
            <a:solidFill>
              <a:schemeClr val="bg1">
                <a:lumMod val="5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1" name="Freeform: Shape 160">
              <a:extLst>
                <a:ext uri="{FF2B5EF4-FFF2-40B4-BE49-F238E27FC236}">
                  <a16:creationId xmlns:a16="http://schemas.microsoft.com/office/drawing/2014/main" id="{C4BB30BE-959C-76B2-F2A1-046EB7A13708}"/>
                </a:ext>
              </a:extLst>
            </p:cNvPr>
            <p:cNvSpPr/>
            <p:nvPr/>
          </p:nvSpPr>
          <p:spPr>
            <a:xfrm>
              <a:off x="5087940" y="3025764"/>
              <a:ext cx="106239" cy="267050"/>
            </a:xfrm>
            <a:custGeom>
              <a:avLst/>
              <a:gdLst>
                <a:gd name="connsiteX0" fmla="*/ 21127 w 23085"/>
                <a:gd name="connsiteY0" fmla="*/ 58028 h 58028"/>
                <a:gd name="connsiteX1" fmla="*/ 23085 w 23085"/>
                <a:gd name="connsiteY1" fmla="*/ 56084 h 58028"/>
                <a:gd name="connsiteX2" fmla="*/ 23085 w 23085"/>
                <a:gd name="connsiteY2" fmla="*/ 1967 h 58028"/>
                <a:gd name="connsiteX3" fmla="*/ 20815 w 23085"/>
                <a:gd name="connsiteY3" fmla="*/ 24 h 58028"/>
                <a:gd name="connsiteX4" fmla="*/ 14856 w 23085"/>
                <a:gd name="connsiteY4" fmla="*/ 903 h 58028"/>
                <a:gd name="connsiteX5" fmla="*/ 1873 w 23085"/>
                <a:gd name="connsiteY5" fmla="*/ 2010 h 58028"/>
                <a:gd name="connsiteX6" fmla="*/ 0 w 23085"/>
                <a:gd name="connsiteY6" fmla="*/ 3968 h 58028"/>
                <a:gd name="connsiteX7" fmla="*/ 0 w 23085"/>
                <a:gd name="connsiteY7" fmla="*/ 56070 h 58028"/>
                <a:gd name="connsiteX8" fmla="*/ 1958 w 23085"/>
                <a:gd name="connsiteY8" fmla="*/ 58014 h 58028"/>
                <a:gd name="connsiteX9" fmla="*/ 21127 w 23085"/>
                <a:gd name="connsiteY9" fmla="*/ 58014 h 58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85" h="58028">
                  <a:moveTo>
                    <a:pt x="21127" y="58028"/>
                  </a:moveTo>
                  <a:cubicBezTo>
                    <a:pt x="22220" y="58028"/>
                    <a:pt x="23085" y="57148"/>
                    <a:pt x="23085" y="56084"/>
                  </a:cubicBezTo>
                  <a:lnTo>
                    <a:pt x="23085" y="1967"/>
                  </a:lnTo>
                  <a:cubicBezTo>
                    <a:pt x="23085" y="761"/>
                    <a:pt x="22007" y="-161"/>
                    <a:pt x="20815" y="24"/>
                  </a:cubicBezTo>
                  <a:cubicBezTo>
                    <a:pt x="18843" y="350"/>
                    <a:pt x="16856" y="648"/>
                    <a:pt x="14856" y="903"/>
                  </a:cubicBezTo>
                  <a:cubicBezTo>
                    <a:pt x="10528" y="1471"/>
                    <a:pt x="6172" y="1840"/>
                    <a:pt x="1873" y="2010"/>
                  </a:cubicBezTo>
                  <a:cubicBezTo>
                    <a:pt x="823" y="2053"/>
                    <a:pt x="0" y="2932"/>
                    <a:pt x="0" y="3968"/>
                  </a:cubicBezTo>
                  <a:lnTo>
                    <a:pt x="0" y="56070"/>
                  </a:lnTo>
                  <a:cubicBezTo>
                    <a:pt x="0" y="57148"/>
                    <a:pt x="880" y="58014"/>
                    <a:pt x="1958" y="58014"/>
                  </a:cubicBezTo>
                  <a:lnTo>
                    <a:pt x="21127" y="58014"/>
                  </a:lnTo>
                  <a:close/>
                </a:path>
              </a:pathLst>
            </a:custGeom>
            <a:solidFill>
              <a:schemeClr val="bg1">
                <a:lumMod val="5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2" name="Freeform: Shape 161">
              <a:extLst>
                <a:ext uri="{FF2B5EF4-FFF2-40B4-BE49-F238E27FC236}">
                  <a16:creationId xmlns:a16="http://schemas.microsoft.com/office/drawing/2014/main" id="{9310DC03-E9C5-0EC6-538D-B8B5057E0C8F}"/>
                </a:ext>
              </a:extLst>
            </p:cNvPr>
            <p:cNvSpPr/>
            <p:nvPr/>
          </p:nvSpPr>
          <p:spPr>
            <a:xfrm>
              <a:off x="5257260" y="2980328"/>
              <a:ext cx="106239" cy="312487"/>
            </a:xfrm>
            <a:custGeom>
              <a:avLst/>
              <a:gdLst>
                <a:gd name="connsiteX0" fmla="*/ 21142 w 23085"/>
                <a:gd name="connsiteY0" fmla="*/ 67902 h 67901"/>
                <a:gd name="connsiteX1" fmla="*/ 23085 w 23085"/>
                <a:gd name="connsiteY1" fmla="*/ 65958 h 67901"/>
                <a:gd name="connsiteX2" fmla="*/ 23085 w 23085"/>
                <a:gd name="connsiteY2" fmla="*/ 1965 h 67901"/>
                <a:gd name="connsiteX3" fmla="*/ 20460 w 23085"/>
                <a:gd name="connsiteY3" fmla="*/ 121 h 67901"/>
                <a:gd name="connsiteX4" fmla="*/ 14061 w 23085"/>
                <a:gd name="connsiteY4" fmla="*/ 2363 h 67901"/>
                <a:gd name="connsiteX5" fmla="*/ 14019 w 23085"/>
                <a:gd name="connsiteY5" fmla="*/ 2363 h 67901"/>
                <a:gd name="connsiteX6" fmla="*/ 1461 w 23085"/>
                <a:gd name="connsiteY6" fmla="*/ 6123 h 67901"/>
                <a:gd name="connsiteX7" fmla="*/ 0 w 23085"/>
                <a:gd name="connsiteY7" fmla="*/ 8010 h 67901"/>
                <a:gd name="connsiteX8" fmla="*/ 0 w 23085"/>
                <a:gd name="connsiteY8" fmla="*/ 65958 h 67901"/>
                <a:gd name="connsiteX9" fmla="*/ 1958 w 23085"/>
                <a:gd name="connsiteY9" fmla="*/ 67902 h 67901"/>
                <a:gd name="connsiteX10" fmla="*/ 21142 w 23085"/>
                <a:gd name="connsiteY10" fmla="*/ 67902 h 67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85" h="67901">
                  <a:moveTo>
                    <a:pt x="21142" y="67902"/>
                  </a:moveTo>
                  <a:cubicBezTo>
                    <a:pt x="22220" y="67902"/>
                    <a:pt x="23085" y="67022"/>
                    <a:pt x="23085" y="65958"/>
                  </a:cubicBezTo>
                  <a:lnTo>
                    <a:pt x="23085" y="1965"/>
                  </a:lnTo>
                  <a:cubicBezTo>
                    <a:pt x="23085" y="603"/>
                    <a:pt x="21737" y="-347"/>
                    <a:pt x="20460" y="121"/>
                  </a:cubicBezTo>
                  <a:cubicBezTo>
                    <a:pt x="18318" y="901"/>
                    <a:pt x="16190" y="1653"/>
                    <a:pt x="14061" y="2363"/>
                  </a:cubicBezTo>
                  <a:lnTo>
                    <a:pt x="14019" y="2363"/>
                  </a:lnTo>
                  <a:cubicBezTo>
                    <a:pt x="9805" y="3767"/>
                    <a:pt x="5590" y="5030"/>
                    <a:pt x="1461" y="6123"/>
                  </a:cubicBezTo>
                  <a:cubicBezTo>
                    <a:pt x="596" y="6350"/>
                    <a:pt x="0" y="7130"/>
                    <a:pt x="0" y="8010"/>
                  </a:cubicBezTo>
                  <a:lnTo>
                    <a:pt x="0" y="65958"/>
                  </a:lnTo>
                  <a:cubicBezTo>
                    <a:pt x="0" y="67036"/>
                    <a:pt x="880" y="67902"/>
                    <a:pt x="1958" y="67902"/>
                  </a:cubicBezTo>
                  <a:lnTo>
                    <a:pt x="21142" y="67902"/>
                  </a:lnTo>
                  <a:close/>
                </a:path>
              </a:pathLst>
            </a:custGeom>
            <a:solidFill>
              <a:schemeClr val="bg1">
                <a:lumMod val="5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3" name="Freeform: Shape 162">
              <a:extLst>
                <a:ext uri="{FF2B5EF4-FFF2-40B4-BE49-F238E27FC236}">
                  <a16:creationId xmlns:a16="http://schemas.microsoft.com/office/drawing/2014/main" id="{94D087D0-53D2-6C99-14B0-33C40BAE8A4B}"/>
                </a:ext>
              </a:extLst>
            </p:cNvPr>
            <p:cNvSpPr/>
            <p:nvPr/>
          </p:nvSpPr>
          <p:spPr>
            <a:xfrm>
              <a:off x="5426580" y="2904647"/>
              <a:ext cx="106304" cy="388232"/>
            </a:xfrm>
            <a:custGeom>
              <a:avLst/>
              <a:gdLst>
                <a:gd name="connsiteX0" fmla="*/ 21142 w 23099"/>
                <a:gd name="connsiteY0" fmla="*/ 84346 h 84360"/>
                <a:gd name="connsiteX1" fmla="*/ 23100 w 23099"/>
                <a:gd name="connsiteY1" fmla="*/ 82402 h 84360"/>
                <a:gd name="connsiteX2" fmla="*/ 23100 w 23099"/>
                <a:gd name="connsiteY2" fmla="*/ 1951 h 84360"/>
                <a:gd name="connsiteX3" fmla="*/ 20219 w 23099"/>
                <a:gd name="connsiteY3" fmla="*/ 234 h 84360"/>
                <a:gd name="connsiteX4" fmla="*/ 19638 w 23099"/>
                <a:gd name="connsiteY4" fmla="*/ 546 h 84360"/>
                <a:gd name="connsiteX5" fmla="*/ 18758 w 23099"/>
                <a:gd name="connsiteY5" fmla="*/ 1000 h 84360"/>
                <a:gd name="connsiteX6" fmla="*/ 17637 w 23099"/>
                <a:gd name="connsiteY6" fmla="*/ 1582 h 84360"/>
                <a:gd name="connsiteX7" fmla="*/ 10769 w 23099"/>
                <a:gd name="connsiteY7" fmla="*/ 5016 h 84360"/>
                <a:gd name="connsiteX8" fmla="*/ 1163 w 23099"/>
                <a:gd name="connsiteY8" fmla="*/ 9499 h 84360"/>
                <a:gd name="connsiteX9" fmla="*/ 0 w 23099"/>
                <a:gd name="connsiteY9" fmla="*/ 11273 h 84360"/>
                <a:gd name="connsiteX10" fmla="*/ 0 w 23099"/>
                <a:gd name="connsiteY10" fmla="*/ 82417 h 84360"/>
                <a:gd name="connsiteX11" fmla="*/ 1958 w 23099"/>
                <a:gd name="connsiteY11" fmla="*/ 84360 h 84360"/>
                <a:gd name="connsiteX12" fmla="*/ 21127 w 23099"/>
                <a:gd name="connsiteY12" fmla="*/ 84360 h 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099" h="84360">
                  <a:moveTo>
                    <a:pt x="21142" y="84346"/>
                  </a:moveTo>
                  <a:cubicBezTo>
                    <a:pt x="22220" y="84346"/>
                    <a:pt x="23100" y="83467"/>
                    <a:pt x="23100" y="82402"/>
                  </a:cubicBezTo>
                  <a:lnTo>
                    <a:pt x="23100" y="1951"/>
                  </a:lnTo>
                  <a:cubicBezTo>
                    <a:pt x="23100" y="475"/>
                    <a:pt x="21525" y="-461"/>
                    <a:pt x="20219" y="234"/>
                  </a:cubicBezTo>
                  <a:cubicBezTo>
                    <a:pt x="20021" y="333"/>
                    <a:pt x="19836" y="433"/>
                    <a:pt x="19638" y="546"/>
                  </a:cubicBezTo>
                  <a:lnTo>
                    <a:pt x="18758" y="1000"/>
                  </a:lnTo>
                  <a:lnTo>
                    <a:pt x="17637" y="1582"/>
                  </a:lnTo>
                  <a:cubicBezTo>
                    <a:pt x="15409" y="2717"/>
                    <a:pt x="13125" y="3881"/>
                    <a:pt x="10769" y="5016"/>
                  </a:cubicBezTo>
                  <a:cubicBezTo>
                    <a:pt x="7563" y="6577"/>
                    <a:pt x="4370" y="8066"/>
                    <a:pt x="1163" y="9499"/>
                  </a:cubicBezTo>
                  <a:cubicBezTo>
                    <a:pt x="454" y="9812"/>
                    <a:pt x="0" y="10507"/>
                    <a:pt x="0" y="11273"/>
                  </a:cubicBezTo>
                  <a:lnTo>
                    <a:pt x="0" y="82417"/>
                  </a:lnTo>
                  <a:cubicBezTo>
                    <a:pt x="0" y="83495"/>
                    <a:pt x="880" y="84360"/>
                    <a:pt x="1958" y="84360"/>
                  </a:cubicBezTo>
                  <a:lnTo>
                    <a:pt x="21127" y="84360"/>
                  </a:lnTo>
                  <a:close/>
                </a:path>
              </a:pathLst>
            </a:custGeom>
            <a:solidFill>
              <a:schemeClr val="bg1">
                <a:lumMod val="5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4" name="Freeform: Shape 163">
              <a:extLst>
                <a:ext uri="{FF2B5EF4-FFF2-40B4-BE49-F238E27FC236}">
                  <a16:creationId xmlns:a16="http://schemas.microsoft.com/office/drawing/2014/main" id="{144659BB-8488-D960-C3B1-E47E6763EF8E}"/>
                </a:ext>
              </a:extLst>
            </p:cNvPr>
            <p:cNvSpPr/>
            <p:nvPr/>
          </p:nvSpPr>
          <p:spPr>
            <a:xfrm>
              <a:off x="5595964" y="2803644"/>
              <a:ext cx="106239" cy="489170"/>
            </a:xfrm>
            <a:custGeom>
              <a:avLst/>
              <a:gdLst>
                <a:gd name="connsiteX0" fmla="*/ 21127 w 23085"/>
                <a:gd name="connsiteY0" fmla="*/ 106294 h 106293"/>
                <a:gd name="connsiteX1" fmla="*/ 23085 w 23085"/>
                <a:gd name="connsiteY1" fmla="*/ 104350 h 106293"/>
                <a:gd name="connsiteX2" fmla="*/ 23085 w 23085"/>
                <a:gd name="connsiteY2" fmla="*/ 1962 h 106293"/>
                <a:gd name="connsiteX3" fmla="*/ 20049 w 23085"/>
                <a:gd name="connsiteY3" fmla="*/ 330 h 106293"/>
                <a:gd name="connsiteX4" fmla="*/ 5392 w 23085"/>
                <a:gd name="connsiteY4" fmla="*/ 9681 h 106293"/>
                <a:gd name="connsiteX5" fmla="*/ 965 w 23085"/>
                <a:gd name="connsiteY5" fmla="*/ 12348 h 106293"/>
                <a:gd name="connsiteX6" fmla="*/ 0 w 23085"/>
                <a:gd name="connsiteY6" fmla="*/ 14037 h 106293"/>
                <a:gd name="connsiteX7" fmla="*/ 0 w 23085"/>
                <a:gd name="connsiteY7" fmla="*/ 104336 h 106293"/>
                <a:gd name="connsiteX8" fmla="*/ 1958 w 23085"/>
                <a:gd name="connsiteY8" fmla="*/ 106279 h 106293"/>
                <a:gd name="connsiteX9" fmla="*/ 21127 w 23085"/>
                <a:gd name="connsiteY9" fmla="*/ 106279 h 10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85" h="106293">
                  <a:moveTo>
                    <a:pt x="21127" y="106294"/>
                  </a:moveTo>
                  <a:cubicBezTo>
                    <a:pt x="22220" y="106294"/>
                    <a:pt x="23085" y="105414"/>
                    <a:pt x="23085" y="104350"/>
                  </a:cubicBezTo>
                  <a:lnTo>
                    <a:pt x="23085" y="1962"/>
                  </a:lnTo>
                  <a:cubicBezTo>
                    <a:pt x="23085" y="401"/>
                    <a:pt x="21354" y="-535"/>
                    <a:pt x="20049" y="330"/>
                  </a:cubicBezTo>
                  <a:cubicBezTo>
                    <a:pt x="15168" y="3580"/>
                    <a:pt x="10273" y="6687"/>
                    <a:pt x="5392" y="9681"/>
                  </a:cubicBezTo>
                  <a:cubicBezTo>
                    <a:pt x="3945" y="10575"/>
                    <a:pt x="2469" y="11455"/>
                    <a:pt x="965" y="12348"/>
                  </a:cubicBezTo>
                  <a:cubicBezTo>
                    <a:pt x="369" y="12703"/>
                    <a:pt x="0" y="13342"/>
                    <a:pt x="0" y="14037"/>
                  </a:cubicBezTo>
                  <a:lnTo>
                    <a:pt x="0" y="104336"/>
                  </a:lnTo>
                  <a:cubicBezTo>
                    <a:pt x="0" y="105414"/>
                    <a:pt x="880" y="106279"/>
                    <a:pt x="1958" y="106279"/>
                  </a:cubicBezTo>
                  <a:lnTo>
                    <a:pt x="21127" y="106279"/>
                  </a:lnTo>
                  <a:close/>
                </a:path>
              </a:pathLst>
            </a:custGeom>
            <a:solidFill>
              <a:schemeClr val="bg1">
                <a:lumMod val="5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5" name="Freeform: Shape 164">
              <a:extLst>
                <a:ext uri="{FF2B5EF4-FFF2-40B4-BE49-F238E27FC236}">
                  <a16:creationId xmlns:a16="http://schemas.microsoft.com/office/drawing/2014/main" id="{D0D8127C-7121-9A40-8A5E-AD7D363DD3F1}"/>
                </a:ext>
              </a:extLst>
            </p:cNvPr>
            <p:cNvSpPr/>
            <p:nvPr/>
          </p:nvSpPr>
          <p:spPr>
            <a:xfrm>
              <a:off x="5765285" y="2679972"/>
              <a:ext cx="106304" cy="612907"/>
            </a:xfrm>
            <a:custGeom>
              <a:avLst/>
              <a:gdLst>
                <a:gd name="connsiteX0" fmla="*/ 21142 w 23099"/>
                <a:gd name="connsiteY0" fmla="*/ 133166 h 133180"/>
                <a:gd name="connsiteX1" fmla="*/ 23100 w 23099"/>
                <a:gd name="connsiteY1" fmla="*/ 131222 h 133180"/>
                <a:gd name="connsiteX2" fmla="*/ 23100 w 23099"/>
                <a:gd name="connsiteY2" fmla="*/ 1961 h 133180"/>
                <a:gd name="connsiteX3" fmla="*/ 19921 w 23099"/>
                <a:gd name="connsiteY3" fmla="*/ 428 h 133180"/>
                <a:gd name="connsiteX4" fmla="*/ 809 w 23099"/>
                <a:gd name="connsiteY4" fmla="*/ 15001 h 133180"/>
                <a:gd name="connsiteX5" fmla="*/ 0 w 23099"/>
                <a:gd name="connsiteY5" fmla="*/ 16590 h 133180"/>
                <a:gd name="connsiteX6" fmla="*/ 0 w 23099"/>
                <a:gd name="connsiteY6" fmla="*/ 131237 h 133180"/>
                <a:gd name="connsiteX7" fmla="*/ 1958 w 23099"/>
                <a:gd name="connsiteY7" fmla="*/ 133180 h 133180"/>
                <a:gd name="connsiteX8" fmla="*/ 21127 w 23099"/>
                <a:gd name="connsiteY8" fmla="*/ 133180 h 13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99" h="133180">
                  <a:moveTo>
                    <a:pt x="21142" y="133166"/>
                  </a:moveTo>
                  <a:cubicBezTo>
                    <a:pt x="22234" y="133166"/>
                    <a:pt x="23100" y="132287"/>
                    <a:pt x="23100" y="131222"/>
                  </a:cubicBezTo>
                  <a:lnTo>
                    <a:pt x="23100" y="1961"/>
                  </a:lnTo>
                  <a:cubicBezTo>
                    <a:pt x="23100" y="329"/>
                    <a:pt x="21212" y="-593"/>
                    <a:pt x="19921" y="428"/>
                  </a:cubicBezTo>
                  <a:cubicBezTo>
                    <a:pt x="13621" y="5451"/>
                    <a:pt x="7222" y="10318"/>
                    <a:pt x="809" y="15001"/>
                  </a:cubicBezTo>
                  <a:cubicBezTo>
                    <a:pt x="312" y="15369"/>
                    <a:pt x="0" y="15951"/>
                    <a:pt x="0" y="16590"/>
                  </a:cubicBezTo>
                  <a:lnTo>
                    <a:pt x="0" y="131237"/>
                  </a:lnTo>
                  <a:cubicBezTo>
                    <a:pt x="0" y="132315"/>
                    <a:pt x="880" y="133180"/>
                    <a:pt x="1958" y="133180"/>
                  </a:cubicBezTo>
                  <a:lnTo>
                    <a:pt x="21127" y="133180"/>
                  </a:lnTo>
                  <a:close/>
                </a:path>
              </a:pathLst>
            </a:custGeom>
            <a:solidFill>
              <a:schemeClr val="bg1">
                <a:lumMod val="5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6" name="Freeform: Shape 165">
              <a:extLst>
                <a:ext uri="{FF2B5EF4-FFF2-40B4-BE49-F238E27FC236}">
                  <a16:creationId xmlns:a16="http://schemas.microsoft.com/office/drawing/2014/main" id="{531097A3-9530-1ACE-8B08-F979E7FE28F5}"/>
                </a:ext>
              </a:extLst>
            </p:cNvPr>
            <p:cNvSpPr/>
            <p:nvPr/>
          </p:nvSpPr>
          <p:spPr>
            <a:xfrm>
              <a:off x="4887956" y="2262415"/>
              <a:ext cx="1166179" cy="722933"/>
            </a:xfrm>
            <a:custGeom>
              <a:avLst/>
              <a:gdLst>
                <a:gd name="connsiteX0" fmla="*/ 250202 w 253402"/>
                <a:gd name="connsiteY0" fmla="*/ 124 h 157088"/>
                <a:gd name="connsiteX1" fmla="*/ 185416 w 253402"/>
                <a:gd name="connsiteY1" fmla="*/ 21777 h 157088"/>
                <a:gd name="connsiteX2" fmla="*/ 184578 w 253402"/>
                <a:gd name="connsiteY2" fmla="*/ 25906 h 157088"/>
                <a:gd name="connsiteX3" fmla="*/ 193319 w 253402"/>
                <a:gd name="connsiteY3" fmla="*/ 33639 h 157088"/>
                <a:gd name="connsiteX4" fmla="*/ 191616 w 253402"/>
                <a:gd name="connsiteY4" fmla="*/ 35781 h 157088"/>
                <a:gd name="connsiteX5" fmla="*/ 181372 w 253402"/>
                <a:gd name="connsiteY5" fmla="*/ 48154 h 157088"/>
                <a:gd name="connsiteX6" fmla="*/ 159592 w 253402"/>
                <a:gd name="connsiteY6" fmla="*/ 72020 h 157088"/>
                <a:gd name="connsiteX7" fmla="*/ 111080 w 253402"/>
                <a:gd name="connsiteY7" fmla="*/ 114573 h 157088"/>
                <a:gd name="connsiteX8" fmla="*/ 83922 w 253402"/>
                <a:gd name="connsiteY8" fmla="*/ 131826 h 157088"/>
                <a:gd name="connsiteX9" fmla="*/ 69492 w 253402"/>
                <a:gd name="connsiteY9" fmla="*/ 138878 h 157088"/>
                <a:gd name="connsiteX10" fmla="*/ 54437 w 253402"/>
                <a:gd name="connsiteY10" fmla="*/ 144483 h 157088"/>
                <a:gd name="connsiteX11" fmla="*/ 22697 w 253402"/>
                <a:gd name="connsiteY11" fmla="*/ 149903 h 157088"/>
                <a:gd name="connsiteX12" fmla="*/ 6379 w 253402"/>
                <a:gd name="connsiteY12" fmla="*/ 148782 h 157088"/>
                <a:gd name="connsiteX13" fmla="*/ 1215 w 253402"/>
                <a:gd name="connsiteY13" fmla="*/ 147789 h 157088"/>
                <a:gd name="connsiteX14" fmla="*/ 619 w 253402"/>
                <a:gd name="connsiteY14" fmla="*/ 149705 h 157088"/>
                <a:gd name="connsiteX15" fmla="*/ 5670 w 253402"/>
                <a:gd name="connsiteY15" fmla="*/ 151620 h 157088"/>
                <a:gd name="connsiteX16" fmla="*/ 22285 w 253402"/>
                <a:gd name="connsiteY16" fmla="*/ 155749 h 157088"/>
                <a:gd name="connsiteX17" fmla="*/ 56920 w 253402"/>
                <a:gd name="connsiteY17" fmla="*/ 155948 h 157088"/>
                <a:gd name="connsiteX18" fmla="*/ 74089 w 253402"/>
                <a:gd name="connsiteY18" fmla="*/ 152798 h 157088"/>
                <a:gd name="connsiteX19" fmla="*/ 90860 w 253402"/>
                <a:gd name="connsiteY19" fmla="*/ 147988 h 157088"/>
                <a:gd name="connsiteX20" fmla="*/ 123069 w 253402"/>
                <a:gd name="connsiteY20" fmla="*/ 134721 h 157088"/>
                <a:gd name="connsiteX21" fmla="*/ 130859 w 253402"/>
                <a:gd name="connsiteY21" fmla="*/ 130805 h 157088"/>
                <a:gd name="connsiteX22" fmla="*/ 138521 w 253402"/>
                <a:gd name="connsiteY22" fmla="*/ 126704 h 157088"/>
                <a:gd name="connsiteX23" fmla="*/ 153547 w 253402"/>
                <a:gd name="connsiteY23" fmla="*/ 117964 h 157088"/>
                <a:gd name="connsiteX24" fmla="*/ 182450 w 253402"/>
                <a:gd name="connsiteY24" fmla="*/ 98738 h 157088"/>
                <a:gd name="connsiteX25" fmla="*/ 209991 w 253402"/>
                <a:gd name="connsiteY25" fmla="*/ 77554 h 157088"/>
                <a:gd name="connsiteX26" fmla="*/ 223300 w 253402"/>
                <a:gd name="connsiteY26" fmla="*/ 66259 h 157088"/>
                <a:gd name="connsiteX27" fmla="*/ 226720 w 253402"/>
                <a:gd name="connsiteY27" fmla="*/ 63223 h 157088"/>
                <a:gd name="connsiteX28" fmla="*/ 235716 w 253402"/>
                <a:gd name="connsiteY28" fmla="*/ 71183 h 157088"/>
                <a:gd name="connsiteX29" fmla="*/ 239717 w 253402"/>
                <a:gd name="connsiteY29" fmla="*/ 69849 h 157088"/>
                <a:gd name="connsiteX30" fmla="*/ 253352 w 253402"/>
                <a:gd name="connsiteY30" fmla="*/ 2920 h 157088"/>
                <a:gd name="connsiteX31" fmla="*/ 250202 w 253402"/>
                <a:gd name="connsiteY31" fmla="*/ 124 h 157088"/>
                <a:gd name="connsiteX32" fmla="*/ 250202 w 253402"/>
                <a:gd name="connsiteY32" fmla="*/ 124 h 157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53402" h="157088">
                  <a:moveTo>
                    <a:pt x="250202" y="124"/>
                  </a:moveTo>
                  <a:lnTo>
                    <a:pt x="185416" y="21777"/>
                  </a:lnTo>
                  <a:cubicBezTo>
                    <a:pt x="183642" y="22359"/>
                    <a:pt x="183188" y="24657"/>
                    <a:pt x="184578" y="25906"/>
                  </a:cubicBezTo>
                  <a:lnTo>
                    <a:pt x="193319" y="33639"/>
                  </a:lnTo>
                  <a:cubicBezTo>
                    <a:pt x="192751" y="34348"/>
                    <a:pt x="192184" y="35072"/>
                    <a:pt x="191616" y="35781"/>
                  </a:cubicBezTo>
                  <a:cubicBezTo>
                    <a:pt x="188282" y="39953"/>
                    <a:pt x="184862" y="44082"/>
                    <a:pt x="181372" y="48154"/>
                  </a:cubicBezTo>
                  <a:cubicBezTo>
                    <a:pt x="174377" y="56327"/>
                    <a:pt x="167112" y="64301"/>
                    <a:pt x="159592" y="72020"/>
                  </a:cubicBezTo>
                  <a:cubicBezTo>
                    <a:pt x="144537" y="87443"/>
                    <a:pt x="128461" y="101916"/>
                    <a:pt x="111080" y="114573"/>
                  </a:cubicBezTo>
                  <a:cubicBezTo>
                    <a:pt x="102382" y="120901"/>
                    <a:pt x="93343" y="126704"/>
                    <a:pt x="83922" y="131826"/>
                  </a:cubicBezTo>
                  <a:cubicBezTo>
                    <a:pt x="79211" y="134366"/>
                    <a:pt x="74401" y="136722"/>
                    <a:pt x="69492" y="138878"/>
                  </a:cubicBezTo>
                  <a:cubicBezTo>
                    <a:pt x="64568" y="141021"/>
                    <a:pt x="59545" y="142880"/>
                    <a:pt x="54437" y="144483"/>
                  </a:cubicBezTo>
                  <a:cubicBezTo>
                    <a:pt x="44207" y="147718"/>
                    <a:pt x="33551" y="149676"/>
                    <a:pt x="22697" y="149903"/>
                  </a:cubicBezTo>
                  <a:cubicBezTo>
                    <a:pt x="17262" y="150045"/>
                    <a:pt x="11800" y="149662"/>
                    <a:pt x="6379" y="148782"/>
                  </a:cubicBezTo>
                  <a:cubicBezTo>
                    <a:pt x="4663" y="148498"/>
                    <a:pt x="2931" y="148186"/>
                    <a:pt x="1215" y="147789"/>
                  </a:cubicBezTo>
                  <a:cubicBezTo>
                    <a:pt x="23" y="147534"/>
                    <a:pt x="-502" y="149236"/>
                    <a:pt x="619" y="149705"/>
                  </a:cubicBezTo>
                  <a:cubicBezTo>
                    <a:pt x="2279" y="150386"/>
                    <a:pt x="3967" y="151024"/>
                    <a:pt x="5670" y="151620"/>
                  </a:cubicBezTo>
                  <a:cubicBezTo>
                    <a:pt x="11033" y="153479"/>
                    <a:pt x="16610" y="154884"/>
                    <a:pt x="22285" y="155749"/>
                  </a:cubicBezTo>
                  <a:cubicBezTo>
                    <a:pt x="33636" y="157523"/>
                    <a:pt x="45385" y="157480"/>
                    <a:pt x="56920" y="155948"/>
                  </a:cubicBezTo>
                  <a:cubicBezTo>
                    <a:pt x="62681" y="155196"/>
                    <a:pt x="68428" y="154160"/>
                    <a:pt x="74089" y="152798"/>
                  </a:cubicBezTo>
                  <a:cubicBezTo>
                    <a:pt x="79750" y="151436"/>
                    <a:pt x="85341" y="149818"/>
                    <a:pt x="90860" y="147988"/>
                  </a:cubicBezTo>
                  <a:cubicBezTo>
                    <a:pt x="101899" y="144299"/>
                    <a:pt x="112640" y="139801"/>
                    <a:pt x="123069" y="134721"/>
                  </a:cubicBezTo>
                  <a:cubicBezTo>
                    <a:pt x="125694" y="133458"/>
                    <a:pt x="128277" y="132139"/>
                    <a:pt x="130859" y="130805"/>
                  </a:cubicBezTo>
                  <a:cubicBezTo>
                    <a:pt x="133427" y="129457"/>
                    <a:pt x="135996" y="128109"/>
                    <a:pt x="138521" y="126704"/>
                  </a:cubicBezTo>
                  <a:cubicBezTo>
                    <a:pt x="143587" y="123895"/>
                    <a:pt x="148609" y="121000"/>
                    <a:pt x="153547" y="117964"/>
                  </a:cubicBezTo>
                  <a:cubicBezTo>
                    <a:pt x="163423" y="111919"/>
                    <a:pt x="173071" y="105492"/>
                    <a:pt x="182450" y="98738"/>
                  </a:cubicBezTo>
                  <a:cubicBezTo>
                    <a:pt x="191857" y="91984"/>
                    <a:pt x="201023" y="84918"/>
                    <a:pt x="209991" y="77554"/>
                  </a:cubicBezTo>
                  <a:cubicBezTo>
                    <a:pt x="214475" y="73865"/>
                    <a:pt x="218916" y="70104"/>
                    <a:pt x="223300" y="66259"/>
                  </a:cubicBezTo>
                  <a:cubicBezTo>
                    <a:pt x="224449" y="65252"/>
                    <a:pt x="225585" y="64244"/>
                    <a:pt x="226720" y="63223"/>
                  </a:cubicBezTo>
                  <a:lnTo>
                    <a:pt x="235716" y="71183"/>
                  </a:lnTo>
                  <a:cubicBezTo>
                    <a:pt x="237120" y="72417"/>
                    <a:pt x="239348" y="71679"/>
                    <a:pt x="239717" y="69849"/>
                  </a:cubicBezTo>
                  <a:lnTo>
                    <a:pt x="253352" y="2920"/>
                  </a:lnTo>
                  <a:cubicBezTo>
                    <a:pt x="253721" y="1089"/>
                    <a:pt x="251976" y="-457"/>
                    <a:pt x="250202" y="124"/>
                  </a:cubicBezTo>
                  <a:lnTo>
                    <a:pt x="250202" y="124"/>
                  </a:ln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7" name="Freeform: Shape 166">
              <a:extLst>
                <a:ext uri="{FF2B5EF4-FFF2-40B4-BE49-F238E27FC236}">
                  <a16:creationId xmlns:a16="http://schemas.microsoft.com/office/drawing/2014/main" id="{FE48E950-4D76-321D-BBC7-9F4593A99F6B}"/>
                </a:ext>
              </a:extLst>
            </p:cNvPr>
            <p:cNvSpPr/>
            <p:nvPr/>
          </p:nvSpPr>
          <p:spPr>
            <a:xfrm>
              <a:off x="5235059" y="2475405"/>
              <a:ext cx="42832" cy="110680"/>
            </a:xfrm>
            <a:custGeom>
              <a:avLst/>
              <a:gdLst>
                <a:gd name="connsiteX0" fmla="*/ 6669 w 9307"/>
                <a:gd name="connsiteY0" fmla="*/ 19481 h 24050"/>
                <a:gd name="connsiteX1" fmla="*/ 9308 w 9307"/>
                <a:gd name="connsiteY1" fmla="*/ 11025 h 24050"/>
                <a:gd name="connsiteX2" fmla="*/ 6669 w 9307"/>
                <a:gd name="connsiteY2" fmla="*/ 4810 h 24050"/>
                <a:gd name="connsiteX3" fmla="*/ 0 w 9307"/>
                <a:gd name="connsiteY3" fmla="*/ 0 h 24050"/>
                <a:gd name="connsiteX4" fmla="*/ 0 w 9307"/>
                <a:gd name="connsiteY4" fmla="*/ 24050 h 24050"/>
                <a:gd name="connsiteX5" fmla="*/ 6669 w 9307"/>
                <a:gd name="connsiteY5" fmla="*/ 19467 h 24050"/>
                <a:gd name="connsiteX6" fmla="*/ 6669 w 9307"/>
                <a:gd name="connsiteY6" fmla="*/ 19467 h 2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07" h="24050">
                  <a:moveTo>
                    <a:pt x="6669" y="19481"/>
                  </a:moveTo>
                  <a:cubicBezTo>
                    <a:pt x="8442" y="17467"/>
                    <a:pt x="9308" y="14643"/>
                    <a:pt x="9308" y="11025"/>
                  </a:cubicBezTo>
                  <a:cubicBezTo>
                    <a:pt x="9308" y="8641"/>
                    <a:pt x="8428" y="6584"/>
                    <a:pt x="6669" y="4810"/>
                  </a:cubicBezTo>
                  <a:cubicBezTo>
                    <a:pt x="4909" y="3051"/>
                    <a:pt x="2696" y="1461"/>
                    <a:pt x="0" y="0"/>
                  </a:cubicBezTo>
                  <a:lnTo>
                    <a:pt x="0" y="24050"/>
                  </a:lnTo>
                  <a:cubicBezTo>
                    <a:pt x="2682" y="23015"/>
                    <a:pt x="4909" y="21482"/>
                    <a:pt x="6669" y="19467"/>
                  </a:cubicBezTo>
                  <a:lnTo>
                    <a:pt x="6669" y="19467"/>
                  </a:lnTo>
                  <a:close/>
                </a:path>
              </a:pathLst>
            </a:custGeom>
            <a:solidFill>
              <a:srgbClr val="00D63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8" name="Freeform: Shape 167">
              <a:extLst>
                <a:ext uri="{FF2B5EF4-FFF2-40B4-BE49-F238E27FC236}">
                  <a16:creationId xmlns:a16="http://schemas.microsoft.com/office/drawing/2014/main" id="{ED0D5FC4-6092-7431-1956-2517E0DC10E1}"/>
                </a:ext>
              </a:extLst>
            </p:cNvPr>
            <p:cNvSpPr/>
            <p:nvPr/>
          </p:nvSpPr>
          <p:spPr>
            <a:xfrm>
              <a:off x="4882249" y="2120832"/>
              <a:ext cx="641297" cy="641297"/>
            </a:xfrm>
            <a:custGeom>
              <a:avLst/>
              <a:gdLst>
                <a:gd name="connsiteX0" fmla="*/ 41432 w 139349"/>
                <a:gd name="connsiteY0" fmla="*/ 86127 h 139349"/>
                <a:gd name="connsiteX1" fmla="*/ 46398 w 139349"/>
                <a:gd name="connsiteY1" fmla="*/ 84183 h 139349"/>
                <a:gd name="connsiteX2" fmla="*/ 53535 w 139349"/>
                <a:gd name="connsiteY2" fmla="*/ 89916 h 139349"/>
                <a:gd name="connsiteX3" fmla="*/ 63623 w 139349"/>
                <a:gd name="connsiteY3" fmla="*/ 100940 h 139349"/>
                <a:gd name="connsiteX4" fmla="*/ 63623 w 139349"/>
                <a:gd name="connsiteY4" fmla="*/ 70987 h 139349"/>
                <a:gd name="connsiteX5" fmla="*/ 56401 w 139349"/>
                <a:gd name="connsiteY5" fmla="*/ 66787 h 139349"/>
                <a:gd name="connsiteX6" fmla="*/ 50569 w 139349"/>
                <a:gd name="connsiteY6" fmla="*/ 61438 h 139349"/>
                <a:gd name="connsiteX7" fmla="*/ 46696 w 139349"/>
                <a:gd name="connsiteY7" fmla="*/ 54599 h 139349"/>
                <a:gd name="connsiteX8" fmla="*/ 45305 w 139349"/>
                <a:gd name="connsiteY8" fmla="*/ 45986 h 139349"/>
                <a:gd name="connsiteX9" fmla="*/ 46781 w 139349"/>
                <a:gd name="connsiteY9" fmla="*/ 37303 h 139349"/>
                <a:gd name="connsiteX10" fmla="*/ 50811 w 139349"/>
                <a:gd name="connsiteY10" fmla="*/ 30464 h 139349"/>
                <a:gd name="connsiteX11" fmla="*/ 56628 w 139349"/>
                <a:gd name="connsiteY11" fmla="*/ 25498 h 139349"/>
                <a:gd name="connsiteX12" fmla="*/ 63623 w 139349"/>
                <a:gd name="connsiteY12" fmla="*/ 22546 h 139349"/>
                <a:gd name="connsiteX13" fmla="*/ 63623 w 139349"/>
                <a:gd name="connsiteY13" fmla="*/ 21156 h 139349"/>
                <a:gd name="connsiteX14" fmla="*/ 69980 w 139349"/>
                <a:gd name="connsiteY14" fmla="*/ 13692 h 139349"/>
                <a:gd name="connsiteX15" fmla="*/ 76663 w 139349"/>
                <a:gd name="connsiteY15" fmla="*/ 21156 h 139349"/>
                <a:gd name="connsiteX16" fmla="*/ 76663 w 139349"/>
                <a:gd name="connsiteY16" fmla="*/ 22546 h 139349"/>
                <a:gd name="connsiteX17" fmla="*/ 83871 w 139349"/>
                <a:gd name="connsiteY17" fmla="*/ 25185 h 139349"/>
                <a:gd name="connsiteX18" fmla="*/ 90001 w 139349"/>
                <a:gd name="connsiteY18" fmla="*/ 29754 h 139349"/>
                <a:gd name="connsiteX19" fmla="*/ 94201 w 139349"/>
                <a:gd name="connsiteY19" fmla="*/ 35969 h 139349"/>
                <a:gd name="connsiteX20" fmla="*/ 95747 w 139349"/>
                <a:gd name="connsiteY20" fmla="*/ 43503 h 139349"/>
                <a:gd name="connsiteX21" fmla="*/ 93647 w 139349"/>
                <a:gd name="connsiteY21" fmla="*/ 48938 h 139349"/>
                <a:gd name="connsiteX22" fmla="*/ 88440 w 139349"/>
                <a:gd name="connsiteY22" fmla="*/ 51109 h 139349"/>
                <a:gd name="connsiteX23" fmla="*/ 83942 w 139349"/>
                <a:gd name="connsiteY23" fmla="*/ 49477 h 139349"/>
                <a:gd name="connsiteX24" fmla="*/ 81998 w 139349"/>
                <a:gd name="connsiteY24" fmla="*/ 45674 h 139349"/>
                <a:gd name="connsiteX25" fmla="*/ 80366 w 139349"/>
                <a:gd name="connsiteY25" fmla="*/ 41176 h 139349"/>
                <a:gd name="connsiteX26" fmla="*/ 76649 w 139349"/>
                <a:gd name="connsiteY26" fmla="*/ 37601 h 139349"/>
                <a:gd name="connsiteX27" fmla="*/ 76649 w 139349"/>
                <a:gd name="connsiteY27" fmla="*/ 59948 h 139349"/>
                <a:gd name="connsiteX28" fmla="*/ 85815 w 139349"/>
                <a:gd name="connsiteY28" fmla="*/ 64829 h 139349"/>
                <a:gd name="connsiteX29" fmla="*/ 93335 w 139349"/>
                <a:gd name="connsiteY29" fmla="*/ 70888 h 139349"/>
                <a:gd name="connsiteX30" fmla="*/ 98386 w 139349"/>
                <a:gd name="connsiteY30" fmla="*/ 78408 h 139349"/>
                <a:gd name="connsiteX31" fmla="*/ 100245 w 139349"/>
                <a:gd name="connsiteY31" fmla="*/ 87716 h 139349"/>
                <a:gd name="connsiteX32" fmla="*/ 98301 w 139349"/>
                <a:gd name="connsiteY32" fmla="*/ 99053 h 139349"/>
                <a:gd name="connsiteX33" fmla="*/ 93094 w 139349"/>
                <a:gd name="connsiteY33" fmla="*/ 107510 h 139349"/>
                <a:gd name="connsiteX34" fmla="*/ 85574 w 139349"/>
                <a:gd name="connsiteY34" fmla="*/ 113171 h 139349"/>
                <a:gd name="connsiteX35" fmla="*/ 76649 w 139349"/>
                <a:gd name="connsiteY35" fmla="*/ 116123 h 139349"/>
                <a:gd name="connsiteX36" fmla="*/ 76649 w 139349"/>
                <a:gd name="connsiteY36" fmla="*/ 119074 h 139349"/>
                <a:gd name="connsiteX37" fmla="*/ 70136 w 139349"/>
                <a:gd name="connsiteY37" fmla="*/ 125587 h 139349"/>
                <a:gd name="connsiteX38" fmla="*/ 63623 w 139349"/>
                <a:gd name="connsiteY38" fmla="*/ 119074 h 139349"/>
                <a:gd name="connsiteX39" fmla="*/ 63623 w 139349"/>
                <a:gd name="connsiteY39" fmla="*/ 115966 h 139349"/>
                <a:gd name="connsiteX40" fmla="*/ 53847 w 139349"/>
                <a:gd name="connsiteY40" fmla="*/ 112476 h 139349"/>
                <a:gd name="connsiteX41" fmla="*/ 46086 w 139349"/>
                <a:gd name="connsiteY41" fmla="*/ 106815 h 139349"/>
                <a:gd name="connsiteX42" fmla="*/ 40978 w 139349"/>
                <a:gd name="connsiteY42" fmla="*/ 99678 h 139349"/>
                <a:gd name="connsiteX43" fmla="*/ 39105 w 139349"/>
                <a:gd name="connsiteY43" fmla="*/ 91760 h 139349"/>
                <a:gd name="connsiteX44" fmla="*/ 41446 w 139349"/>
                <a:gd name="connsiteY44" fmla="*/ 86099 h 139349"/>
                <a:gd name="connsiteX45" fmla="*/ 41446 w 139349"/>
                <a:gd name="connsiteY45" fmla="*/ 86099 h 139349"/>
                <a:gd name="connsiteX46" fmla="*/ 69682 w 139349"/>
                <a:gd name="connsiteY46" fmla="*/ 139350 h 139349"/>
                <a:gd name="connsiteX47" fmla="*/ 139350 w 139349"/>
                <a:gd name="connsiteY47" fmla="*/ 69668 h 139349"/>
                <a:gd name="connsiteX48" fmla="*/ 69682 w 139349"/>
                <a:gd name="connsiteY48" fmla="*/ 0 h 139349"/>
                <a:gd name="connsiteX49" fmla="*/ 0 w 139349"/>
                <a:gd name="connsiteY49" fmla="*/ 69668 h 139349"/>
                <a:gd name="connsiteX50" fmla="*/ 69682 w 139349"/>
                <a:gd name="connsiteY50" fmla="*/ 139350 h 139349"/>
                <a:gd name="connsiteX51" fmla="*/ 69682 w 139349"/>
                <a:gd name="connsiteY51" fmla="*/ 139350 h 13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9349" h="139349">
                  <a:moveTo>
                    <a:pt x="41432" y="86127"/>
                  </a:moveTo>
                  <a:cubicBezTo>
                    <a:pt x="42978" y="84836"/>
                    <a:pt x="44624" y="84183"/>
                    <a:pt x="46398" y="84183"/>
                  </a:cubicBezTo>
                  <a:cubicBezTo>
                    <a:pt x="50115" y="84183"/>
                    <a:pt x="52499" y="86099"/>
                    <a:pt x="53535" y="89916"/>
                  </a:cubicBezTo>
                  <a:cubicBezTo>
                    <a:pt x="55082" y="95194"/>
                    <a:pt x="58444" y="98869"/>
                    <a:pt x="63623" y="100940"/>
                  </a:cubicBezTo>
                  <a:lnTo>
                    <a:pt x="63623" y="70987"/>
                  </a:lnTo>
                  <a:cubicBezTo>
                    <a:pt x="61027" y="69739"/>
                    <a:pt x="58629" y="68348"/>
                    <a:pt x="56401" y="66787"/>
                  </a:cubicBezTo>
                  <a:cubicBezTo>
                    <a:pt x="54173" y="65241"/>
                    <a:pt x="52230" y="63453"/>
                    <a:pt x="50569" y="61438"/>
                  </a:cubicBezTo>
                  <a:cubicBezTo>
                    <a:pt x="48909" y="59423"/>
                    <a:pt x="47618" y="57139"/>
                    <a:pt x="46696" y="54599"/>
                  </a:cubicBezTo>
                  <a:cubicBezTo>
                    <a:pt x="45759" y="52074"/>
                    <a:pt x="45305" y="49193"/>
                    <a:pt x="45305" y="45986"/>
                  </a:cubicBezTo>
                  <a:cubicBezTo>
                    <a:pt x="45305" y="42780"/>
                    <a:pt x="45788" y="39885"/>
                    <a:pt x="46781" y="37303"/>
                  </a:cubicBezTo>
                  <a:cubicBezTo>
                    <a:pt x="47774" y="34706"/>
                    <a:pt x="49108" y="32436"/>
                    <a:pt x="50811" y="30464"/>
                  </a:cubicBezTo>
                  <a:cubicBezTo>
                    <a:pt x="52528" y="28506"/>
                    <a:pt x="54457" y="26846"/>
                    <a:pt x="56628" y="25498"/>
                  </a:cubicBezTo>
                  <a:cubicBezTo>
                    <a:pt x="58799" y="24150"/>
                    <a:pt x="61140" y="23171"/>
                    <a:pt x="63623" y="22546"/>
                  </a:cubicBezTo>
                  <a:lnTo>
                    <a:pt x="63623" y="21156"/>
                  </a:lnTo>
                  <a:cubicBezTo>
                    <a:pt x="63623" y="16175"/>
                    <a:pt x="65737" y="13692"/>
                    <a:pt x="69980" y="13692"/>
                  </a:cubicBezTo>
                  <a:cubicBezTo>
                    <a:pt x="74222" y="13692"/>
                    <a:pt x="76663" y="16175"/>
                    <a:pt x="76663" y="21156"/>
                  </a:cubicBezTo>
                  <a:lnTo>
                    <a:pt x="76663" y="22546"/>
                  </a:lnTo>
                  <a:cubicBezTo>
                    <a:pt x="79146" y="23071"/>
                    <a:pt x="81544" y="23937"/>
                    <a:pt x="83871" y="25185"/>
                  </a:cubicBezTo>
                  <a:cubicBezTo>
                    <a:pt x="86212" y="26420"/>
                    <a:pt x="88241" y="27952"/>
                    <a:pt x="90001" y="29754"/>
                  </a:cubicBezTo>
                  <a:cubicBezTo>
                    <a:pt x="91760" y="31570"/>
                    <a:pt x="93165" y="33642"/>
                    <a:pt x="94201" y="35969"/>
                  </a:cubicBezTo>
                  <a:cubicBezTo>
                    <a:pt x="95236" y="38310"/>
                    <a:pt x="95747" y="40807"/>
                    <a:pt x="95747" y="43503"/>
                  </a:cubicBezTo>
                  <a:cubicBezTo>
                    <a:pt x="95747" y="45674"/>
                    <a:pt x="95038" y="47490"/>
                    <a:pt x="93647" y="48938"/>
                  </a:cubicBezTo>
                  <a:cubicBezTo>
                    <a:pt x="92257" y="50385"/>
                    <a:pt x="90526" y="51109"/>
                    <a:pt x="88440" y="51109"/>
                  </a:cubicBezTo>
                  <a:cubicBezTo>
                    <a:pt x="86354" y="51109"/>
                    <a:pt x="84765" y="50570"/>
                    <a:pt x="83942" y="49477"/>
                  </a:cubicBezTo>
                  <a:cubicBezTo>
                    <a:pt x="83119" y="48399"/>
                    <a:pt x="82466" y="47136"/>
                    <a:pt x="81998" y="45674"/>
                  </a:cubicBezTo>
                  <a:cubicBezTo>
                    <a:pt x="81530" y="44227"/>
                    <a:pt x="80991" y="42723"/>
                    <a:pt x="80366" y="41176"/>
                  </a:cubicBezTo>
                  <a:cubicBezTo>
                    <a:pt x="79756" y="39630"/>
                    <a:pt x="78508" y="38438"/>
                    <a:pt x="76649" y="37601"/>
                  </a:cubicBezTo>
                  <a:lnTo>
                    <a:pt x="76649" y="59948"/>
                  </a:lnTo>
                  <a:cubicBezTo>
                    <a:pt x="79855" y="61396"/>
                    <a:pt x="82906" y="63013"/>
                    <a:pt x="85815" y="64829"/>
                  </a:cubicBezTo>
                  <a:cubicBezTo>
                    <a:pt x="88709" y="66646"/>
                    <a:pt x="91207" y="68660"/>
                    <a:pt x="93335" y="70888"/>
                  </a:cubicBezTo>
                  <a:cubicBezTo>
                    <a:pt x="95449" y="73116"/>
                    <a:pt x="97138" y="75613"/>
                    <a:pt x="98386" y="78408"/>
                  </a:cubicBezTo>
                  <a:cubicBezTo>
                    <a:pt x="99621" y="81189"/>
                    <a:pt x="100245" y="84297"/>
                    <a:pt x="100245" y="87716"/>
                  </a:cubicBezTo>
                  <a:cubicBezTo>
                    <a:pt x="100245" y="91973"/>
                    <a:pt x="99592" y="95747"/>
                    <a:pt x="98301" y="99053"/>
                  </a:cubicBezTo>
                  <a:cubicBezTo>
                    <a:pt x="97010" y="102359"/>
                    <a:pt x="95279" y="105183"/>
                    <a:pt x="93094" y="107510"/>
                  </a:cubicBezTo>
                  <a:cubicBezTo>
                    <a:pt x="90923" y="109851"/>
                    <a:pt x="88411" y="111724"/>
                    <a:pt x="85574" y="113171"/>
                  </a:cubicBezTo>
                  <a:cubicBezTo>
                    <a:pt x="82736" y="114618"/>
                    <a:pt x="79756" y="115612"/>
                    <a:pt x="76649" y="116123"/>
                  </a:cubicBezTo>
                  <a:lnTo>
                    <a:pt x="76649" y="119074"/>
                  </a:lnTo>
                  <a:cubicBezTo>
                    <a:pt x="76649" y="123430"/>
                    <a:pt x="74478" y="125587"/>
                    <a:pt x="70136" y="125587"/>
                  </a:cubicBezTo>
                  <a:cubicBezTo>
                    <a:pt x="65794" y="125587"/>
                    <a:pt x="63623" y="123416"/>
                    <a:pt x="63623" y="119074"/>
                  </a:cubicBezTo>
                  <a:lnTo>
                    <a:pt x="63623" y="115966"/>
                  </a:lnTo>
                  <a:cubicBezTo>
                    <a:pt x="60104" y="115257"/>
                    <a:pt x="56841" y="114079"/>
                    <a:pt x="53847" y="112476"/>
                  </a:cubicBezTo>
                  <a:cubicBezTo>
                    <a:pt x="50839" y="110873"/>
                    <a:pt x="48257" y="108985"/>
                    <a:pt x="46086" y="106815"/>
                  </a:cubicBezTo>
                  <a:cubicBezTo>
                    <a:pt x="43915" y="104644"/>
                    <a:pt x="42212" y="102260"/>
                    <a:pt x="40978" y="99678"/>
                  </a:cubicBezTo>
                  <a:cubicBezTo>
                    <a:pt x="39729" y="97095"/>
                    <a:pt x="39105" y="94456"/>
                    <a:pt x="39105" y="91760"/>
                  </a:cubicBezTo>
                  <a:cubicBezTo>
                    <a:pt x="39105" y="89277"/>
                    <a:pt x="39885" y="87390"/>
                    <a:pt x="41446" y="86099"/>
                  </a:cubicBezTo>
                  <a:lnTo>
                    <a:pt x="41446" y="86099"/>
                  </a:lnTo>
                  <a:close/>
                  <a:moveTo>
                    <a:pt x="69682" y="139350"/>
                  </a:moveTo>
                  <a:cubicBezTo>
                    <a:pt x="108148" y="139350"/>
                    <a:pt x="139350" y="108148"/>
                    <a:pt x="139350" y="69668"/>
                  </a:cubicBezTo>
                  <a:cubicBezTo>
                    <a:pt x="139350" y="31187"/>
                    <a:pt x="108148" y="0"/>
                    <a:pt x="69682" y="0"/>
                  </a:cubicBezTo>
                  <a:cubicBezTo>
                    <a:pt x="31216" y="0"/>
                    <a:pt x="0" y="31202"/>
                    <a:pt x="0" y="69668"/>
                  </a:cubicBezTo>
                  <a:cubicBezTo>
                    <a:pt x="0" y="108134"/>
                    <a:pt x="31202" y="139350"/>
                    <a:pt x="69682" y="139350"/>
                  </a:cubicBezTo>
                  <a:lnTo>
                    <a:pt x="69682" y="139350"/>
                  </a:lnTo>
                  <a:close/>
                </a:path>
              </a:pathLst>
            </a:custGeom>
            <a:solidFill>
              <a:srgbClr val="FF00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9" name="Freeform: Shape 168">
              <a:extLst>
                <a:ext uri="{FF2B5EF4-FFF2-40B4-BE49-F238E27FC236}">
                  <a16:creationId xmlns:a16="http://schemas.microsoft.com/office/drawing/2014/main" id="{C89FAA7D-F034-D54E-E94F-4C856F8330A2}"/>
                </a:ext>
              </a:extLst>
            </p:cNvPr>
            <p:cNvSpPr/>
            <p:nvPr/>
          </p:nvSpPr>
          <p:spPr>
            <a:xfrm>
              <a:off x="5155001" y="2291846"/>
              <a:ext cx="20042" cy="77835"/>
            </a:xfrm>
            <a:custGeom>
              <a:avLst/>
              <a:gdLst>
                <a:gd name="connsiteX0" fmla="*/ 4356 w 4355"/>
                <a:gd name="connsiteY0" fmla="*/ 0 h 16913"/>
                <a:gd name="connsiteX1" fmla="*/ 1249 w 4355"/>
                <a:gd name="connsiteY1" fmla="*/ 4115 h 16913"/>
                <a:gd name="connsiteX2" fmla="*/ 0 w 4355"/>
                <a:gd name="connsiteY2" fmla="*/ 8840 h 16913"/>
                <a:gd name="connsiteX3" fmla="*/ 1249 w 4355"/>
                <a:gd name="connsiteY3" fmla="*/ 13735 h 16913"/>
                <a:gd name="connsiteX4" fmla="*/ 4356 w 4355"/>
                <a:gd name="connsiteY4" fmla="*/ 16913 h 16913"/>
                <a:gd name="connsiteX5" fmla="*/ 4356 w 4355"/>
                <a:gd name="connsiteY5" fmla="*/ 0 h 16913"/>
                <a:gd name="connsiteX6" fmla="*/ 4356 w 4355"/>
                <a:gd name="connsiteY6" fmla="*/ 0 h 1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5" h="16913">
                  <a:moveTo>
                    <a:pt x="4356" y="0"/>
                  </a:moveTo>
                  <a:cubicBezTo>
                    <a:pt x="3107" y="1036"/>
                    <a:pt x="2072" y="2398"/>
                    <a:pt x="1249" y="4115"/>
                  </a:cubicBezTo>
                  <a:cubicBezTo>
                    <a:pt x="426" y="5817"/>
                    <a:pt x="0" y="7407"/>
                    <a:pt x="0" y="8840"/>
                  </a:cubicBezTo>
                  <a:cubicBezTo>
                    <a:pt x="0" y="10911"/>
                    <a:pt x="426" y="12543"/>
                    <a:pt x="1249" y="13735"/>
                  </a:cubicBezTo>
                  <a:cubicBezTo>
                    <a:pt x="2072" y="14927"/>
                    <a:pt x="3107" y="15977"/>
                    <a:pt x="4356" y="16913"/>
                  </a:cubicBezTo>
                  <a:lnTo>
                    <a:pt x="4356" y="0"/>
                  </a:lnTo>
                  <a:lnTo>
                    <a:pt x="4356" y="0"/>
                  </a:lnTo>
                  <a:close/>
                </a:path>
              </a:pathLst>
            </a:custGeom>
            <a:solidFill>
              <a:srgbClr val="00D63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89" name="Rectangle 88">
            <a:extLst>
              <a:ext uri="{FF2B5EF4-FFF2-40B4-BE49-F238E27FC236}">
                <a16:creationId xmlns:a16="http://schemas.microsoft.com/office/drawing/2014/main" id="{9AADAA76-DBAC-F355-48F4-833D1F8A05E0}"/>
              </a:ext>
            </a:extLst>
          </p:cNvPr>
          <p:cNvSpPr/>
          <p:nvPr/>
        </p:nvSpPr>
        <p:spPr bwMode="gray">
          <a:xfrm>
            <a:off x="10709031" y="1299749"/>
            <a:ext cx="1021529" cy="5024848"/>
          </a:xfrm>
          <a:prstGeom prst="rect">
            <a:avLst/>
          </a:prstGeom>
          <a:solidFill>
            <a:schemeClr val="bg1">
              <a:alpha val="80000"/>
            </a:schemeClr>
          </a:solidFill>
          <a:ln w="19050" algn="ctr">
            <a:noFill/>
            <a:miter lim="800000"/>
            <a:headEnd/>
            <a:tailEnd/>
          </a:ln>
        </p:spPr>
        <p:txBody>
          <a:bodyPr wrap="square" lIns="0" tIns="1371600" rIns="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88" name="Frame 87">
            <a:extLst>
              <a:ext uri="{FF2B5EF4-FFF2-40B4-BE49-F238E27FC236}">
                <a16:creationId xmlns:a16="http://schemas.microsoft.com/office/drawing/2014/main" id="{454F544F-C86D-7620-EB92-408887BFA960}"/>
              </a:ext>
            </a:extLst>
          </p:cNvPr>
          <p:cNvSpPr/>
          <p:nvPr/>
        </p:nvSpPr>
        <p:spPr bwMode="gray">
          <a:xfrm>
            <a:off x="10709031" y="1306971"/>
            <a:ext cx="1021529" cy="3854035"/>
          </a:xfrm>
          <a:prstGeom prst="frame">
            <a:avLst>
              <a:gd name="adj1" fmla="val 6224"/>
            </a:avLst>
          </a:prstGeom>
          <a:solidFill>
            <a:schemeClr val="tx1"/>
          </a:solidFill>
          <a:ln w="19050" algn="ctr">
            <a:noFill/>
            <a:miter lim="800000"/>
            <a:headEnd/>
            <a:tailEnd/>
          </a:ln>
        </p:spPr>
        <p:txBody>
          <a:bodyPr wrap="square" lIns="0" tIns="1371600" rIns="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1200" cap="none" spc="0" normalizeH="0" baseline="0" noProof="0" dirty="0">
                <a:ln>
                  <a:noFill/>
                </a:ln>
                <a:solidFill>
                  <a:srgbClr val="FF0000"/>
                </a:solidFill>
                <a:effectLst/>
                <a:uLnTx/>
                <a:uFillTx/>
                <a:latin typeface="Aptos" panose="02110004020202020204"/>
                <a:ea typeface="+mn-ea"/>
                <a:cs typeface="+mn-cs"/>
              </a:rPr>
              <a:t>Step 5</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rPr>
              <a:t>Recognise revenue</a:t>
            </a:r>
          </a:p>
        </p:txBody>
      </p:sp>
      <p:grpSp>
        <p:nvGrpSpPr>
          <p:cNvPr id="656" name="Group 655">
            <a:extLst>
              <a:ext uri="{FF2B5EF4-FFF2-40B4-BE49-F238E27FC236}">
                <a16:creationId xmlns:a16="http://schemas.microsoft.com/office/drawing/2014/main" id="{B7A3822A-4F50-65B5-4EEF-57EDF3AFB3DF}"/>
              </a:ext>
            </a:extLst>
          </p:cNvPr>
          <p:cNvGrpSpPr/>
          <p:nvPr/>
        </p:nvGrpSpPr>
        <p:grpSpPr>
          <a:xfrm>
            <a:off x="10966723" y="3666851"/>
            <a:ext cx="522343" cy="631245"/>
            <a:chOff x="10966723" y="3565251"/>
            <a:chExt cx="522343" cy="631245"/>
          </a:xfrm>
        </p:grpSpPr>
        <p:sp>
          <p:nvSpPr>
            <p:cNvPr id="649" name="Freeform: Shape 648">
              <a:extLst>
                <a:ext uri="{FF2B5EF4-FFF2-40B4-BE49-F238E27FC236}">
                  <a16:creationId xmlns:a16="http://schemas.microsoft.com/office/drawing/2014/main" id="{B0A85588-BF9F-09EE-7022-4A6B902145B3}"/>
                </a:ext>
              </a:extLst>
            </p:cNvPr>
            <p:cNvSpPr/>
            <p:nvPr/>
          </p:nvSpPr>
          <p:spPr>
            <a:xfrm>
              <a:off x="11071025" y="3673696"/>
              <a:ext cx="313760" cy="294914"/>
            </a:xfrm>
            <a:custGeom>
              <a:avLst/>
              <a:gdLst>
                <a:gd name="connsiteX0" fmla="*/ 313739 w 313760"/>
                <a:gd name="connsiteY0" fmla="*/ 160468 h 294914"/>
                <a:gd name="connsiteX1" fmla="*/ 218600 w 313760"/>
                <a:gd name="connsiteY1" fmla="*/ 0 h 294914"/>
                <a:gd name="connsiteX2" fmla="*/ 156870 w 313760"/>
                <a:gd name="connsiteY2" fmla="*/ 3757 h 294914"/>
                <a:gd name="connsiteX3" fmla="*/ 95139 w 313760"/>
                <a:gd name="connsiteY3" fmla="*/ 0 h 294914"/>
                <a:gd name="connsiteX4" fmla="*/ 0 w 313760"/>
                <a:gd name="connsiteY4" fmla="*/ 160468 h 294914"/>
                <a:gd name="connsiteX5" fmla="*/ 156880 w 313760"/>
                <a:gd name="connsiteY5" fmla="*/ 294914 h 294914"/>
                <a:gd name="connsiteX6" fmla="*/ 313760 w 313760"/>
                <a:gd name="connsiteY6" fmla="*/ 160468 h 29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60" h="294914">
                  <a:moveTo>
                    <a:pt x="313739" y="160468"/>
                  </a:moveTo>
                  <a:cubicBezTo>
                    <a:pt x="313739" y="102167"/>
                    <a:pt x="263795" y="38473"/>
                    <a:pt x="218600" y="0"/>
                  </a:cubicBezTo>
                  <a:cubicBezTo>
                    <a:pt x="199279" y="2448"/>
                    <a:pt x="178481" y="3757"/>
                    <a:pt x="156870" y="3757"/>
                  </a:cubicBezTo>
                  <a:cubicBezTo>
                    <a:pt x="135259" y="3757"/>
                    <a:pt x="114460" y="2448"/>
                    <a:pt x="95139" y="0"/>
                  </a:cubicBezTo>
                  <a:cubicBezTo>
                    <a:pt x="50102" y="38315"/>
                    <a:pt x="0" y="102167"/>
                    <a:pt x="0" y="160468"/>
                  </a:cubicBezTo>
                  <a:cubicBezTo>
                    <a:pt x="0" y="251850"/>
                    <a:pt x="70246" y="294914"/>
                    <a:pt x="156880" y="294914"/>
                  </a:cubicBezTo>
                  <a:cubicBezTo>
                    <a:pt x="243514" y="294914"/>
                    <a:pt x="313760" y="251840"/>
                    <a:pt x="313760" y="160468"/>
                  </a:cubicBezTo>
                  <a:close/>
                </a:path>
              </a:pathLst>
            </a:custGeom>
            <a:solidFill>
              <a:srgbClr val="FF00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50" name="Freeform: Shape 649">
              <a:extLst>
                <a:ext uri="{FF2B5EF4-FFF2-40B4-BE49-F238E27FC236}">
                  <a16:creationId xmlns:a16="http://schemas.microsoft.com/office/drawing/2014/main" id="{CF64EC1C-A62B-ADB9-803A-1387577681F1}"/>
                </a:ext>
              </a:extLst>
            </p:cNvPr>
            <p:cNvSpPr/>
            <p:nvPr/>
          </p:nvSpPr>
          <p:spPr>
            <a:xfrm>
              <a:off x="11147824" y="3565251"/>
              <a:ext cx="159665" cy="84344"/>
            </a:xfrm>
            <a:custGeom>
              <a:avLst/>
              <a:gdLst>
                <a:gd name="connsiteX0" fmla="*/ 80070 w 159665"/>
                <a:gd name="connsiteY0" fmla="*/ 84323 h 84344"/>
                <a:gd name="connsiteX1" fmla="*/ 137390 w 159665"/>
                <a:gd name="connsiteY1" fmla="*/ 80883 h 84344"/>
                <a:gd name="connsiteX2" fmla="*/ 159666 w 159665"/>
                <a:gd name="connsiteY2" fmla="*/ 18488 h 84344"/>
                <a:gd name="connsiteX3" fmla="*/ 125434 w 159665"/>
                <a:gd name="connsiteY3" fmla="*/ 10795 h 84344"/>
                <a:gd name="connsiteX4" fmla="*/ 81548 w 159665"/>
                <a:gd name="connsiteY4" fmla="*/ 0 h 84344"/>
                <a:gd name="connsiteX5" fmla="*/ 37007 w 159665"/>
                <a:gd name="connsiteY5" fmla="*/ 10637 h 84344"/>
                <a:gd name="connsiteX6" fmla="*/ 0 w 159665"/>
                <a:gd name="connsiteY6" fmla="*/ 18013 h 84344"/>
                <a:gd name="connsiteX7" fmla="*/ 20471 w 159665"/>
                <a:gd name="connsiteY7" fmla="*/ 80577 h 84344"/>
                <a:gd name="connsiteX8" fmla="*/ 80081 w 159665"/>
                <a:gd name="connsiteY8" fmla="*/ 84344 h 84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65" h="84344">
                  <a:moveTo>
                    <a:pt x="80070" y="84323"/>
                  </a:moveTo>
                  <a:cubicBezTo>
                    <a:pt x="100373" y="84323"/>
                    <a:pt x="119536" y="83014"/>
                    <a:pt x="137390" y="80883"/>
                  </a:cubicBezTo>
                  <a:cubicBezTo>
                    <a:pt x="149019" y="55811"/>
                    <a:pt x="159666" y="29778"/>
                    <a:pt x="159666" y="18488"/>
                  </a:cubicBezTo>
                  <a:cubicBezTo>
                    <a:pt x="159666" y="1467"/>
                    <a:pt x="138382" y="-7387"/>
                    <a:pt x="125434" y="10795"/>
                  </a:cubicBezTo>
                  <a:cubicBezTo>
                    <a:pt x="108403" y="34379"/>
                    <a:pt x="101196" y="0"/>
                    <a:pt x="81548" y="0"/>
                  </a:cubicBezTo>
                  <a:cubicBezTo>
                    <a:pt x="62227" y="158"/>
                    <a:pt x="52075" y="31921"/>
                    <a:pt x="37007" y="10637"/>
                  </a:cubicBezTo>
                  <a:cubicBezTo>
                    <a:pt x="23415" y="-8843"/>
                    <a:pt x="0" y="2944"/>
                    <a:pt x="0" y="18013"/>
                  </a:cubicBezTo>
                  <a:cubicBezTo>
                    <a:pt x="0" y="33081"/>
                    <a:pt x="9497" y="57478"/>
                    <a:pt x="20471" y="80577"/>
                  </a:cubicBezTo>
                  <a:cubicBezTo>
                    <a:pt x="38969" y="83025"/>
                    <a:pt x="58955" y="84344"/>
                    <a:pt x="80081" y="84344"/>
                  </a:cubicBez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51" name="Freeform: Shape 650">
              <a:extLst>
                <a:ext uri="{FF2B5EF4-FFF2-40B4-BE49-F238E27FC236}">
                  <a16:creationId xmlns:a16="http://schemas.microsoft.com/office/drawing/2014/main" id="{839DF2D7-706A-BC92-A9C2-63FE6EB3FA93}"/>
                </a:ext>
              </a:extLst>
            </p:cNvPr>
            <p:cNvSpPr/>
            <p:nvPr/>
          </p:nvSpPr>
          <p:spPr>
            <a:xfrm>
              <a:off x="10966723" y="3845580"/>
              <a:ext cx="180510" cy="279594"/>
            </a:xfrm>
            <a:custGeom>
              <a:avLst/>
              <a:gdLst>
                <a:gd name="connsiteX0" fmla="*/ 166370 w 180510"/>
                <a:gd name="connsiteY0" fmla="*/ 172267 h 279594"/>
                <a:gd name="connsiteX1" fmla="*/ 99764 w 180510"/>
                <a:gd name="connsiteY1" fmla="*/ 95489 h 279594"/>
                <a:gd name="connsiteX2" fmla="*/ 87862 w 180510"/>
                <a:gd name="connsiteY2" fmla="*/ 89580 h 279594"/>
                <a:gd name="connsiteX3" fmla="*/ 75336 w 180510"/>
                <a:gd name="connsiteY3" fmla="*/ 93896 h 279594"/>
                <a:gd name="connsiteX4" fmla="*/ 71453 w 180510"/>
                <a:gd name="connsiteY4" fmla="*/ 114568 h 279594"/>
                <a:gd name="connsiteX5" fmla="*/ 73310 w 180510"/>
                <a:gd name="connsiteY5" fmla="*/ 118240 h 279594"/>
                <a:gd name="connsiteX6" fmla="*/ 108860 w 180510"/>
                <a:gd name="connsiteY6" fmla="*/ 175243 h 279594"/>
                <a:gd name="connsiteX7" fmla="*/ 120447 w 180510"/>
                <a:gd name="connsiteY7" fmla="*/ 190734 h 279594"/>
                <a:gd name="connsiteX8" fmla="*/ 122631 w 180510"/>
                <a:gd name="connsiteY8" fmla="*/ 199271 h 279594"/>
                <a:gd name="connsiteX9" fmla="*/ 118136 w 180510"/>
                <a:gd name="connsiteY9" fmla="*/ 206858 h 279594"/>
                <a:gd name="connsiteX10" fmla="*/ 109589 w 180510"/>
                <a:gd name="connsiteY10" fmla="*/ 209021 h 279594"/>
                <a:gd name="connsiteX11" fmla="*/ 102033 w 180510"/>
                <a:gd name="connsiteY11" fmla="*/ 204526 h 279594"/>
                <a:gd name="connsiteX12" fmla="*/ 90426 w 180510"/>
                <a:gd name="connsiteY12" fmla="*/ 189035 h 279594"/>
                <a:gd name="connsiteX13" fmla="*/ 52796 w 180510"/>
                <a:gd name="connsiteY13" fmla="*/ 128697 h 279594"/>
                <a:gd name="connsiteX14" fmla="*/ 50929 w 180510"/>
                <a:gd name="connsiteY14" fmla="*/ 125025 h 279594"/>
                <a:gd name="connsiteX15" fmla="*/ 60014 w 180510"/>
                <a:gd name="connsiteY15" fmla="*/ 76685 h 279594"/>
                <a:gd name="connsiteX16" fmla="*/ 63233 w 180510"/>
                <a:gd name="connsiteY16" fmla="*/ 74110 h 279594"/>
                <a:gd name="connsiteX17" fmla="*/ 38962 w 180510"/>
                <a:gd name="connsiteY17" fmla="*/ 12749 h 279594"/>
                <a:gd name="connsiteX18" fmla="*/ 21762 w 180510"/>
                <a:gd name="connsiteY18" fmla="*/ 65 h 279594"/>
                <a:gd name="connsiteX19" fmla="*/ 6356 w 180510"/>
                <a:gd name="connsiteY19" fmla="*/ 5468 h 279594"/>
                <a:gd name="connsiteX20" fmla="*/ 4 w 180510"/>
                <a:gd name="connsiteY20" fmla="*/ 20516 h 279594"/>
                <a:gd name="connsiteX21" fmla="*/ 2673 w 180510"/>
                <a:gd name="connsiteY21" fmla="*/ 179084 h 279594"/>
                <a:gd name="connsiteX22" fmla="*/ 19219 w 180510"/>
                <a:gd name="connsiteY22" fmla="*/ 218571 h 279594"/>
                <a:gd name="connsiteX23" fmla="*/ 79135 w 180510"/>
                <a:gd name="connsiteY23" fmla="*/ 279594 h 279594"/>
                <a:gd name="connsiteX24" fmla="*/ 180510 w 180510"/>
                <a:gd name="connsiteY24" fmla="*/ 279594 h 279594"/>
                <a:gd name="connsiteX25" fmla="*/ 178611 w 180510"/>
                <a:gd name="connsiteY25" fmla="*/ 202531 h 279594"/>
                <a:gd name="connsiteX26" fmla="*/ 166370 w 180510"/>
                <a:gd name="connsiteY26" fmla="*/ 172267 h 27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0510" h="279594">
                  <a:moveTo>
                    <a:pt x="166370" y="172267"/>
                  </a:moveTo>
                  <a:lnTo>
                    <a:pt x="99764" y="95489"/>
                  </a:lnTo>
                  <a:cubicBezTo>
                    <a:pt x="96747" y="92018"/>
                    <a:pt x="92547" y="89939"/>
                    <a:pt x="87862" y="89580"/>
                  </a:cubicBezTo>
                  <a:cubicBezTo>
                    <a:pt x="83250" y="89285"/>
                    <a:pt x="78797" y="90815"/>
                    <a:pt x="75336" y="93896"/>
                  </a:cubicBezTo>
                  <a:cubicBezTo>
                    <a:pt x="69501" y="99098"/>
                    <a:pt x="67897" y="107593"/>
                    <a:pt x="71453" y="114568"/>
                  </a:cubicBezTo>
                  <a:lnTo>
                    <a:pt x="73310" y="118240"/>
                  </a:lnTo>
                  <a:cubicBezTo>
                    <a:pt x="83451" y="138110"/>
                    <a:pt x="95406" y="157294"/>
                    <a:pt x="108860" y="175243"/>
                  </a:cubicBezTo>
                  <a:lnTo>
                    <a:pt x="120447" y="190734"/>
                  </a:lnTo>
                  <a:cubicBezTo>
                    <a:pt x="122293" y="193192"/>
                    <a:pt x="123064" y="196221"/>
                    <a:pt x="122631" y="199271"/>
                  </a:cubicBezTo>
                  <a:cubicBezTo>
                    <a:pt x="122199" y="202310"/>
                    <a:pt x="120605" y="205000"/>
                    <a:pt x="118136" y="206858"/>
                  </a:cubicBezTo>
                  <a:cubicBezTo>
                    <a:pt x="115667" y="208704"/>
                    <a:pt x="112628" y="209464"/>
                    <a:pt x="109589" y="209021"/>
                  </a:cubicBezTo>
                  <a:cubicBezTo>
                    <a:pt x="106560" y="208609"/>
                    <a:pt x="103859" y="206995"/>
                    <a:pt x="102033" y="204526"/>
                  </a:cubicBezTo>
                  <a:lnTo>
                    <a:pt x="90426" y="189035"/>
                  </a:lnTo>
                  <a:cubicBezTo>
                    <a:pt x="76212" y="170072"/>
                    <a:pt x="63549" y="149770"/>
                    <a:pt x="52796" y="128697"/>
                  </a:cubicBezTo>
                  <a:lnTo>
                    <a:pt x="50929" y="125025"/>
                  </a:lnTo>
                  <a:cubicBezTo>
                    <a:pt x="42613" y="108722"/>
                    <a:pt x="46349" y="88852"/>
                    <a:pt x="60014" y="76685"/>
                  </a:cubicBezTo>
                  <a:cubicBezTo>
                    <a:pt x="61069" y="75757"/>
                    <a:pt x="62135" y="74891"/>
                    <a:pt x="63233" y="74110"/>
                  </a:cubicBezTo>
                  <a:lnTo>
                    <a:pt x="38962" y="12749"/>
                  </a:lnTo>
                  <a:cubicBezTo>
                    <a:pt x="36156" y="5690"/>
                    <a:pt x="29318" y="614"/>
                    <a:pt x="21762" y="65"/>
                  </a:cubicBezTo>
                  <a:cubicBezTo>
                    <a:pt x="16032" y="-388"/>
                    <a:pt x="10556" y="1532"/>
                    <a:pt x="6356" y="5468"/>
                  </a:cubicBezTo>
                  <a:cubicBezTo>
                    <a:pt x="2156" y="9425"/>
                    <a:pt x="-102" y="14775"/>
                    <a:pt x="4" y="20516"/>
                  </a:cubicBezTo>
                  <a:lnTo>
                    <a:pt x="2673" y="179084"/>
                  </a:lnTo>
                  <a:cubicBezTo>
                    <a:pt x="2916" y="193963"/>
                    <a:pt x="8804" y="207997"/>
                    <a:pt x="19219" y="218571"/>
                  </a:cubicBezTo>
                  <a:lnTo>
                    <a:pt x="79135" y="279594"/>
                  </a:lnTo>
                  <a:lnTo>
                    <a:pt x="180510" y="279594"/>
                  </a:lnTo>
                  <a:lnTo>
                    <a:pt x="178611" y="202531"/>
                  </a:lnTo>
                  <a:cubicBezTo>
                    <a:pt x="177999" y="191420"/>
                    <a:pt x="173662" y="180667"/>
                    <a:pt x="166370" y="172267"/>
                  </a:cubicBezTo>
                  <a:close/>
                </a:path>
              </a:pathLst>
            </a:custGeom>
            <a:solidFill>
              <a:schemeClr val="bg1">
                <a:lumMod val="5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52" name="Freeform: Shape 651">
              <a:extLst>
                <a:ext uri="{FF2B5EF4-FFF2-40B4-BE49-F238E27FC236}">
                  <a16:creationId xmlns:a16="http://schemas.microsoft.com/office/drawing/2014/main" id="{6B8BEA5D-D3FF-B37C-1F60-7A58F1F50278}"/>
                </a:ext>
              </a:extLst>
            </p:cNvPr>
            <p:cNvSpPr/>
            <p:nvPr/>
          </p:nvSpPr>
          <p:spPr>
            <a:xfrm>
              <a:off x="11047135" y="4147059"/>
              <a:ext cx="100098" cy="49437"/>
            </a:xfrm>
            <a:custGeom>
              <a:avLst/>
              <a:gdLst>
                <a:gd name="connsiteX0" fmla="*/ 0 w 100098"/>
                <a:gd name="connsiteY0" fmla="*/ 39729 h 49437"/>
                <a:gd name="connsiteX1" fmla="*/ 9708 w 100098"/>
                <a:gd name="connsiteY1" fmla="*/ 49437 h 49437"/>
                <a:gd name="connsiteX2" fmla="*/ 90391 w 100098"/>
                <a:gd name="connsiteY2" fmla="*/ 49437 h 49437"/>
                <a:gd name="connsiteX3" fmla="*/ 100099 w 100098"/>
                <a:gd name="connsiteY3" fmla="*/ 39729 h 49437"/>
                <a:gd name="connsiteX4" fmla="*/ 100099 w 100098"/>
                <a:gd name="connsiteY4" fmla="*/ 0 h 49437"/>
                <a:gd name="connsiteX5" fmla="*/ 0 w 100098"/>
                <a:gd name="connsiteY5" fmla="*/ 0 h 49437"/>
                <a:gd name="connsiteX6" fmla="*/ 0 w 100098"/>
                <a:gd name="connsiteY6" fmla="*/ 39729 h 4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98" h="49437">
                  <a:moveTo>
                    <a:pt x="0" y="39729"/>
                  </a:moveTo>
                  <a:cubicBezTo>
                    <a:pt x="0" y="45090"/>
                    <a:pt x="4348" y="49437"/>
                    <a:pt x="9708" y="49437"/>
                  </a:cubicBezTo>
                  <a:lnTo>
                    <a:pt x="90391" y="49437"/>
                  </a:lnTo>
                  <a:cubicBezTo>
                    <a:pt x="95751" y="49437"/>
                    <a:pt x="100099" y="45090"/>
                    <a:pt x="100099" y="39729"/>
                  </a:cubicBezTo>
                  <a:lnTo>
                    <a:pt x="100099" y="0"/>
                  </a:lnTo>
                  <a:lnTo>
                    <a:pt x="0" y="0"/>
                  </a:lnTo>
                  <a:lnTo>
                    <a:pt x="0" y="39729"/>
                  </a:lnTo>
                  <a:close/>
                </a:path>
              </a:pathLst>
            </a:custGeom>
            <a:solidFill>
              <a:schemeClr val="bg1">
                <a:lumMod val="5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53" name="Freeform: Shape 652">
              <a:extLst>
                <a:ext uri="{FF2B5EF4-FFF2-40B4-BE49-F238E27FC236}">
                  <a16:creationId xmlns:a16="http://schemas.microsoft.com/office/drawing/2014/main" id="{3EC24522-1F25-CC90-CFF1-C0E41F1562AC}"/>
                </a:ext>
              </a:extLst>
            </p:cNvPr>
            <p:cNvSpPr/>
            <p:nvPr/>
          </p:nvSpPr>
          <p:spPr>
            <a:xfrm>
              <a:off x="11308556" y="3845577"/>
              <a:ext cx="180510" cy="279596"/>
            </a:xfrm>
            <a:custGeom>
              <a:avLst/>
              <a:gdLst>
                <a:gd name="connsiteX0" fmla="*/ 174144 w 180510"/>
                <a:gd name="connsiteY0" fmla="*/ 5471 h 279596"/>
                <a:gd name="connsiteX1" fmla="*/ 158737 w 180510"/>
                <a:gd name="connsiteY1" fmla="*/ 68 h 279596"/>
                <a:gd name="connsiteX2" fmla="*/ 141537 w 180510"/>
                <a:gd name="connsiteY2" fmla="*/ 12752 h 279596"/>
                <a:gd name="connsiteX3" fmla="*/ 117267 w 180510"/>
                <a:gd name="connsiteY3" fmla="*/ 74113 h 279596"/>
                <a:gd name="connsiteX4" fmla="*/ 120485 w 180510"/>
                <a:gd name="connsiteY4" fmla="*/ 76688 h 279596"/>
                <a:gd name="connsiteX5" fmla="*/ 129571 w 180510"/>
                <a:gd name="connsiteY5" fmla="*/ 125027 h 279596"/>
                <a:gd name="connsiteX6" fmla="*/ 127714 w 180510"/>
                <a:gd name="connsiteY6" fmla="*/ 128700 h 279596"/>
                <a:gd name="connsiteX7" fmla="*/ 90084 w 180510"/>
                <a:gd name="connsiteY7" fmla="*/ 189037 h 279596"/>
                <a:gd name="connsiteX8" fmla="*/ 78477 w 180510"/>
                <a:gd name="connsiteY8" fmla="*/ 204528 h 279596"/>
                <a:gd name="connsiteX9" fmla="*/ 70922 w 180510"/>
                <a:gd name="connsiteY9" fmla="*/ 209023 h 279596"/>
                <a:gd name="connsiteX10" fmla="*/ 62374 w 180510"/>
                <a:gd name="connsiteY10" fmla="*/ 206860 h 279596"/>
                <a:gd name="connsiteX11" fmla="*/ 57879 w 180510"/>
                <a:gd name="connsiteY11" fmla="*/ 199273 h 279596"/>
                <a:gd name="connsiteX12" fmla="*/ 60053 w 180510"/>
                <a:gd name="connsiteY12" fmla="*/ 190736 h 279596"/>
                <a:gd name="connsiteX13" fmla="*/ 71660 w 180510"/>
                <a:gd name="connsiteY13" fmla="*/ 175246 h 279596"/>
                <a:gd name="connsiteX14" fmla="*/ 107211 w 180510"/>
                <a:gd name="connsiteY14" fmla="*/ 118242 h 279596"/>
                <a:gd name="connsiteX15" fmla="*/ 109079 w 180510"/>
                <a:gd name="connsiteY15" fmla="*/ 114570 h 279596"/>
                <a:gd name="connsiteX16" fmla="*/ 105185 w 180510"/>
                <a:gd name="connsiteY16" fmla="*/ 93898 h 279596"/>
                <a:gd name="connsiteX17" fmla="*/ 92659 w 180510"/>
                <a:gd name="connsiteY17" fmla="*/ 89583 h 279596"/>
                <a:gd name="connsiteX18" fmla="*/ 80746 w 180510"/>
                <a:gd name="connsiteY18" fmla="*/ 95492 h 279596"/>
                <a:gd name="connsiteX19" fmla="*/ 14140 w 180510"/>
                <a:gd name="connsiteY19" fmla="*/ 172270 h 279596"/>
                <a:gd name="connsiteX20" fmla="*/ 1910 w 180510"/>
                <a:gd name="connsiteY20" fmla="*/ 202534 h 279596"/>
                <a:gd name="connsiteX21" fmla="*/ 0 w 180510"/>
                <a:gd name="connsiteY21" fmla="*/ 279597 h 279596"/>
                <a:gd name="connsiteX22" fmla="*/ 101386 w 180510"/>
                <a:gd name="connsiteY22" fmla="*/ 279597 h 279596"/>
                <a:gd name="connsiteX23" fmla="*/ 161302 w 180510"/>
                <a:gd name="connsiteY23" fmla="*/ 218573 h 279596"/>
                <a:gd name="connsiteX24" fmla="*/ 177847 w 180510"/>
                <a:gd name="connsiteY24" fmla="*/ 179087 h 279596"/>
                <a:gd name="connsiteX25" fmla="*/ 180507 w 180510"/>
                <a:gd name="connsiteY25" fmla="*/ 20518 h 279596"/>
                <a:gd name="connsiteX26" fmla="*/ 174154 w 180510"/>
                <a:gd name="connsiteY26" fmla="*/ 5471 h 279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0510" h="279596">
                  <a:moveTo>
                    <a:pt x="174144" y="5471"/>
                  </a:moveTo>
                  <a:cubicBezTo>
                    <a:pt x="169944" y="1535"/>
                    <a:pt x="164467" y="-396"/>
                    <a:pt x="158737" y="68"/>
                  </a:cubicBezTo>
                  <a:cubicBezTo>
                    <a:pt x="151192" y="627"/>
                    <a:pt x="144344" y="5703"/>
                    <a:pt x="141537" y="12752"/>
                  </a:cubicBezTo>
                  <a:lnTo>
                    <a:pt x="117267" y="74113"/>
                  </a:lnTo>
                  <a:cubicBezTo>
                    <a:pt x="118354" y="74894"/>
                    <a:pt x="119430" y="75759"/>
                    <a:pt x="120485" y="76688"/>
                  </a:cubicBezTo>
                  <a:cubicBezTo>
                    <a:pt x="134140" y="88854"/>
                    <a:pt x="137876" y="108724"/>
                    <a:pt x="129571" y="125027"/>
                  </a:cubicBezTo>
                  <a:lnTo>
                    <a:pt x="127714" y="128700"/>
                  </a:lnTo>
                  <a:cubicBezTo>
                    <a:pt x="116961" y="149772"/>
                    <a:pt x="104298" y="170075"/>
                    <a:pt x="90084" y="189037"/>
                  </a:cubicBezTo>
                  <a:lnTo>
                    <a:pt x="78477" y="204528"/>
                  </a:lnTo>
                  <a:cubicBezTo>
                    <a:pt x="76651" y="206997"/>
                    <a:pt x="73940" y="208612"/>
                    <a:pt x="70922" y="209023"/>
                  </a:cubicBezTo>
                  <a:cubicBezTo>
                    <a:pt x="67872" y="209467"/>
                    <a:pt x="64833" y="208696"/>
                    <a:pt x="62374" y="206860"/>
                  </a:cubicBezTo>
                  <a:cubicBezTo>
                    <a:pt x="59895" y="205014"/>
                    <a:pt x="58312" y="202312"/>
                    <a:pt x="57879" y="199273"/>
                  </a:cubicBezTo>
                  <a:cubicBezTo>
                    <a:pt x="57436" y="196223"/>
                    <a:pt x="58206" y="193195"/>
                    <a:pt x="60053" y="190736"/>
                  </a:cubicBezTo>
                  <a:lnTo>
                    <a:pt x="71660" y="175246"/>
                  </a:lnTo>
                  <a:cubicBezTo>
                    <a:pt x="85114" y="157296"/>
                    <a:pt x="97059" y="138112"/>
                    <a:pt x="107211" y="118242"/>
                  </a:cubicBezTo>
                  <a:lnTo>
                    <a:pt x="109079" y="114570"/>
                  </a:lnTo>
                  <a:cubicBezTo>
                    <a:pt x="112635" y="107595"/>
                    <a:pt x="111031" y="99101"/>
                    <a:pt x="105185" y="93898"/>
                  </a:cubicBezTo>
                  <a:cubicBezTo>
                    <a:pt x="101734" y="90817"/>
                    <a:pt x="97271" y="89287"/>
                    <a:pt x="92659" y="89583"/>
                  </a:cubicBezTo>
                  <a:cubicBezTo>
                    <a:pt x="87974" y="89941"/>
                    <a:pt x="83764" y="92020"/>
                    <a:pt x="80746" y="95492"/>
                  </a:cubicBezTo>
                  <a:lnTo>
                    <a:pt x="14140" y="172270"/>
                  </a:lnTo>
                  <a:cubicBezTo>
                    <a:pt x="6848" y="180669"/>
                    <a:pt x="2511" y="191433"/>
                    <a:pt x="1910" y="202534"/>
                  </a:cubicBezTo>
                  <a:lnTo>
                    <a:pt x="0" y="279597"/>
                  </a:lnTo>
                  <a:lnTo>
                    <a:pt x="101386" y="279597"/>
                  </a:lnTo>
                  <a:lnTo>
                    <a:pt x="161302" y="218573"/>
                  </a:lnTo>
                  <a:cubicBezTo>
                    <a:pt x="171717" y="208000"/>
                    <a:pt x="177594" y="193965"/>
                    <a:pt x="177847" y="179087"/>
                  </a:cubicBezTo>
                  <a:lnTo>
                    <a:pt x="180507" y="20518"/>
                  </a:lnTo>
                  <a:cubicBezTo>
                    <a:pt x="180612" y="14767"/>
                    <a:pt x="178354" y="9428"/>
                    <a:pt x="174154" y="5471"/>
                  </a:cubicBezTo>
                  <a:close/>
                </a:path>
              </a:pathLst>
            </a:custGeom>
            <a:solidFill>
              <a:schemeClr val="bg1">
                <a:lumMod val="5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54" name="Freeform: Shape 653">
              <a:extLst>
                <a:ext uri="{FF2B5EF4-FFF2-40B4-BE49-F238E27FC236}">
                  <a16:creationId xmlns:a16="http://schemas.microsoft.com/office/drawing/2014/main" id="{EBC54BF0-53D1-7334-AE15-BDB2F13E5C38}"/>
                </a:ext>
              </a:extLst>
            </p:cNvPr>
            <p:cNvSpPr/>
            <p:nvPr/>
          </p:nvSpPr>
          <p:spPr>
            <a:xfrm>
              <a:off x="11308546" y="4147059"/>
              <a:ext cx="100109" cy="49437"/>
            </a:xfrm>
            <a:custGeom>
              <a:avLst/>
              <a:gdLst>
                <a:gd name="connsiteX0" fmla="*/ 0 w 100109"/>
                <a:gd name="connsiteY0" fmla="*/ 39729 h 49437"/>
                <a:gd name="connsiteX1" fmla="*/ 9719 w 100109"/>
                <a:gd name="connsiteY1" fmla="*/ 49437 h 49437"/>
                <a:gd name="connsiteX2" fmla="*/ 90401 w 100109"/>
                <a:gd name="connsiteY2" fmla="*/ 49437 h 49437"/>
                <a:gd name="connsiteX3" fmla="*/ 100109 w 100109"/>
                <a:gd name="connsiteY3" fmla="*/ 39729 h 49437"/>
                <a:gd name="connsiteX4" fmla="*/ 100109 w 100109"/>
                <a:gd name="connsiteY4" fmla="*/ 0 h 49437"/>
                <a:gd name="connsiteX5" fmla="*/ 11 w 100109"/>
                <a:gd name="connsiteY5" fmla="*/ 0 h 49437"/>
                <a:gd name="connsiteX6" fmla="*/ 11 w 100109"/>
                <a:gd name="connsiteY6" fmla="*/ 39729 h 4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09" h="49437">
                  <a:moveTo>
                    <a:pt x="0" y="39729"/>
                  </a:moveTo>
                  <a:cubicBezTo>
                    <a:pt x="0" y="45090"/>
                    <a:pt x="4358" y="49437"/>
                    <a:pt x="9719" y="49437"/>
                  </a:cubicBezTo>
                  <a:lnTo>
                    <a:pt x="90401" y="49437"/>
                  </a:lnTo>
                  <a:cubicBezTo>
                    <a:pt x="95772" y="49437"/>
                    <a:pt x="100109" y="45090"/>
                    <a:pt x="100109" y="39729"/>
                  </a:cubicBezTo>
                  <a:lnTo>
                    <a:pt x="100109" y="0"/>
                  </a:lnTo>
                  <a:lnTo>
                    <a:pt x="11" y="0"/>
                  </a:lnTo>
                  <a:lnTo>
                    <a:pt x="11" y="39729"/>
                  </a:lnTo>
                  <a:close/>
                </a:path>
              </a:pathLst>
            </a:custGeom>
            <a:solidFill>
              <a:schemeClr val="bg1">
                <a:lumMod val="50000"/>
              </a:scheme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55" name="Freeform: Shape 654">
              <a:extLst>
                <a:ext uri="{FF2B5EF4-FFF2-40B4-BE49-F238E27FC236}">
                  <a16:creationId xmlns:a16="http://schemas.microsoft.com/office/drawing/2014/main" id="{471B58A1-5C69-AD5B-A13E-CD5466C7B099}"/>
                </a:ext>
              </a:extLst>
            </p:cNvPr>
            <p:cNvSpPr/>
            <p:nvPr/>
          </p:nvSpPr>
          <p:spPr>
            <a:xfrm>
              <a:off x="11177501" y="3726109"/>
              <a:ext cx="100774" cy="190088"/>
            </a:xfrm>
            <a:custGeom>
              <a:avLst/>
              <a:gdLst>
                <a:gd name="connsiteX0" fmla="*/ 176 w 100774"/>
                <a:gd name="connsiteY0" fmla="*/ 129465 h 190088"/>
                <a:gd name="connsiteX1" fmla="*/ 3848 w 100774"/>
                <a:gd name="connsiteY1" fmla="*/ 125624 h 190088"/>
                <a:gd name="connsiteX2" fmla="*/ 23866 w 100774"/>
                <a:gd name="connsiteY2" fmla="*/ 125624 h 190088"/>
                <a:gd name="connsiteX3" fmla="*/ 27379 w 100774"/>
                <a:gd name="connsiteY3" fmla="*/ 128368 h 190088"/>
                <a:gd name="connsiteX4" fmla="*/ 44168 w 100774"/>
                <a:gd name="connsiteY4" fmla="*/ 142614 h 190088"/>
                <a:gd name="connsiteX5" fmla="*/ 55649 w 100774"/>
                <a:gd name="connsiteY5" fmla="*/ 142614 h 190088"/>
                <a:gd name="connsiteX6" fmla="*/ 73377 w 100774"/>
                <a:gd name="connsiteY6" fmla="*/ 128484 h 190088"/>
                <a:gd name="connsiteX7" fmla="*/ 56609 w 100774"/>
                <a:gd name="connsiteY7" fmla="*/ 108635 h 190088"/>
                <a:gd name="connsiteX8" fmla="*/ 46131 w 100774"/>
                <a:gd name="connsiteY8" fmla="*/ 108635 h 190088"/>
                <a:gd name="connsiteX9" fmla="*/ 218 w 100774"/>
                <a:gd name="connsiteY9" fmla="*/ 68906 h 190088"/>
                <a:gd name="connsiteX10" fmla="*/ 36803 w 100774"/>
                <a:gd name="connsiteY10" fmla="*/ 21010 h 190088"/>
                <a:gd name="connsiteX11" fmla="*/ 36803 w 100774"/>
                <a:gd name="connsiteY11" fmla="*/ 3630 h 190088"/>
                <a:gd name="connsiteX12" fmla="*/ 40422 w 100774"/>
                <a:gd name="connsiteY12" fmla="*/ 0 h 190088"/>
                <a:gd name="connsiteX13" fmla="*/ 60334 w 100774"/>
                <a:gd name="connsiteY13" fmla="*/ 0 h 190088"/>
                <a:gd name="connsiteX14" fmla="*/ 63953 w 100774"/>
                <a:gd name="connsiteY14" fmla="*/ 3630 h 190088"/>
                <a:gd name="connsiteX15" fmla="*/ 63953 w 100774"/>
                <a:gd name="connsiteY15" fmla="*/ 21020 h 190088"/>
                <a:gd name="connsiteX16" fmla="*/ 100601 w 100774"/>
                <a:gd name="connsiteY16" fmla="*/ 60623 h 190088"/>
                <a:gd name="connsiteX17" fmla="*/ 96929 w 100774"/>
                <a:gd name="connsiteY17" fmla="*/ 64485 h 190088"/>
                <a:gd name="connsiteX18" fmla="*/ 76912 w 100774"/>
                <a:gd name="connsiteY18" fmla="*/ 64485 h 190088"/>
                <a:gd name="connsiteX19" fmla="*/ 73398 w 100774"/>
                <a:gd name="connsiteY19" fmla="*/ 61731 h 190088"/>
                <a:gd name="connsiteX20" fmla="*/ 56620 w 100774"/>
                <a:gd name="connsiteY20" fmla="*/ 47464 h 190088"/>
                <a:gd name="connsiteX21" fmla="*/ 45139 w 100774"/>
                <a:gd name="connsiteY21" fmla="*/ 47464 h 190088"/>
                <a:gd name="connsiteX22" fmla="*/ 27401 w 100774"/>
                <a:gd name="connsiteY22" fmla="*/ 61583 h 190088"/>
                <a:gd name="connsiteX23" fmla="*/ 44168 w 100774"/>
                <a:gd name="connsiteY23" fmla="*/ 81463 h 190088"/>
                <a:gd name="connsiteX24" fmla="*/ 56620 w 100774"/>
                <a:gd name="connsiteY24" fmla="*/ 81463 h 190088"/>
                <a:gd name="connsiteX25" fmla="*/ 100559 w 100774"/>
                <a:gd name="connsiteY25" fmla="*/ 130014 h 190088"/>
                <a:gd name="connsiteX26" fmla="*/ 63964 w 100774"/>
                <a:gd name="connsiteY26" fmla="*/ 168762 h 190088"/>
                <a:gd name="connsiteX27" fmla="*/ 63964 w 100774"/>
                <a:gd name="connsiteY27" fmla="*/ 186469 h 190088"/>
                <a:gd name="connsiteX28" fmla="*/ 60345 w 100774"/>
                <a:gd name="connsiteY28" fmla="*/ 190088 h 190088"/>
                <a:gd name="connsiteX29" fmla="*/ 40433 w 100774"/>
                <a:gd name="connsiteY29" fmla="*/ 190088 h 190088"/>
                <a:gd name="connsiteX30" fmla="*/ 36813 w 100774"/>
                <a:gd name="connsiteY30" fmla="*/ 186469 h 190088"/>
                <a:gd name="connsiteX31" fmla="*/ 36813 w 100774"/>
                <a:gd name="connsiteY31" fmla="*/ 169057 h 190088"/>
                <a:gd name="connsiteX32" fmla="*/ 176 w 100774"/>
                <a:gd name="connsiteY32" fmla="*/ 129455 h 19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774" h="190088">
                  <a:moveTo>
                    <a:pt x="176" y="129465"/>
                  </a:moveTo>
                  <a:cubicBezTo>
                    <a:pt x="-4" y="127387"/>
                    <a:pt x="1769" y="125624"/>
                    <a:pt x="3848" y="125624"/>
                  </a:cubicBezTo>
                  <a:lnTo>
                    <a:pt x="23866" y="125624"/>
                  </a:lnTo>
                  <a:cubicBezTo>
                    <a:pt x="25533" y="125624"/>
                    <a:pt x="27116" y="126722"/>
                    <a:pt x="27379" y="128368"/>
                  </a:cubicBezTo>
                  <a:cubicBezTo>
                    <a:pt x="28698" y="136430"/>
                    <a:pt x="35726" y="142614"/>
                    <a:pt x="44168" y="142614"/>
                  </a:cubicBezTo>
                  <a:lnTo>
                    <a:pt x="55649" y="142614"/>
                  </a:lnTo>
                  <a:cubicBezTo>
                    <a:pt x="64122" y="142614"/>
                    <a:pt x="71994" y="136852"/>
                    <a:pt x="73377" y="128484"/>
                  </a:cubicBezTo>
                  <a:cubicBezTo>
                    <a:pt x="75128" y="117858"/>
                    <a:pt x="66929" y="108635"/>
                    <a:pt x="56609" y="108635"/>
                  </a:cubicBezTo>
                  <a:lnTo>
                    <a:pt x="46131" y="108635"/>
                  </a:lnTo>
                  <a:cubicBezTo>
                    <a:pt x="23085" y="108635"/>
                    <a:pt x="2466" y="91826"/>
                    <a:pt x="218" y="68906"/>
                  </a:cubicBezTo>
                  <a:cubicBezTo>
                    <a:pt x="-2114" y="45142"/>
                    <a:pt x="14548" y="24766"/>
                    <a:pt x="36803" y="21010"/>
                  </a:cubicBezTo>
                  <a:lnTo>
                    <a:pt x="36803" y="3630"/>
                  </a:lnTo>
                  <a:cubicBezTo>
                    <a:pt x="36803" y="1625"/>
                    <a:pt x="38428" y="0"/>
                    <a:pt x="40422" y="0"/>
                  </a:cubicBezTo>
                  <a:lnTo>
                    <a:pt x="60334" y="0"/>
                  </a:lnTo>
                  <a:cubicBezTo>
                    <a:pt x="62339" y="0"/>
                    <a:pt x="63953" y="1625"/>
                    <a:pt x="63953" y="3630"/>
                  </a:cubicBezTo>
                  <a:lnTo>
                    <a:pt x="63953" y="21020"/>
                  </a:lnTo>
                  <a:cubicBezTo>
                    <a:pt x="83570" y="24323"/>
                    <a:pt x="98850" y="40531"/>
                    <a:pt x="100601" y="60623"/>
                  </a:cubicBezTo>
                  <a:cubicBezTo>
                    <a:pt x="100781" y="62701"/>
                    <a:pt x="99008" y="64485"/>
                    <a:pt x="96929" y="64485"/>
                  </a:cubicBezTo>
                  <a:lnTo>
                    <a:pt x="76912" y="64485"/>
                  </a:lnTo>
                  <a:cubicBezTo>
                    <a:pt x="75244" y="64485"/>
                    <a:pt x="73662" y="63366"/>
                    <a:pt x="73398" y="61731"/>
                  </a:cubicBezTo>
                  <a:cubicBezTo>
                    <a:pt x="72079" y="53648"/>
                    <a:pt x="65051" y="47464"/>
                    <a:pt x="56620" y="47464"/>
                  </a:cubicBezTo>
                  <a:lnTo>
                    <a:pt x="45139" y="47464"/>
                  </a:lnTo>
                  <a:cubicBezTo>
                    <a:pt x="36676" y="47464"/>
                    <a:pt x="28793" y="53226"/>
                    <a:pt x="27401" y="61583"/>
                  </a:cubicBezTo>
                  <a:cubicBezTo>
                    <a:pt x="25638" y="72220"/>
                    <a:pt x="33837" y="81463"/>
                    <a:pt x="44168" y="81463"/>
                  </a:cubicBezTo>
                  <a:lnTo>
                    <a:pt x="56620" y="81463"/>
                  </a:lnTo>
                  <a:cubicBezTo>
                    <a:pt x="82420" y="81463"/>
                    <a:pt x="103123" y="103718"/>
                    <a:pt x="100559" y="130014"/>
                  </a:cubicBezTo>
                  <a:cubicBezTo>
                    <a:pt x="98628" y="149821"/>
                    <a:pt x="83000" y="164963"/>
                    <a:pt x="63964" y="168762"/>
                  </a:cubicBezTo>
                  <a:lnTo>
                    <a:pt x="63964" y="186469"/>
                  </a:lnTo>
                  <a:cubicBezTo>
                    <a:pt x="63964" y="188463"/>
                    <a:pt x="62350" y="190088"/>
                    <a:pt x="60345" y="190088"/>
                  </a:cubicBezTo>
                  <a:lnTo>
                    <a:pt x="40433" y="190088"/>
                  </a:lnTo>
                  <a:cubicBezTo>
                    <a:pt x="38438" y="190088"/>
                    <a:pt x="36813" y="188474"/>
                    <a:pt x="36813" y="186469"/>
                  </a:cubicBezTo>
                  <a:lnTo>
                    <a:pt x="36813" y="169057"/>
                  </a:lnTo>
                  <a:cubicBezTo>
                    <a:pt x="17207" y="165744"/>
                    <a:pt x="1917" y="149546"/>
                    <a:pt x="176" y="129455"/>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209867598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EA03D24-BCCC-FC89-1171-AC98E60CEDDB}"/>
            </a:ext>
          </a:extLst>
        </p:cNvPr>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939CB57B-00D3-DF57-4657-E6AFE8436704}"/>
              </a:ext>
            </a:extLst>
          </p:cNvPr>
          <p:cNvGraphicFramePr>
            <a:graphicFrameLocks noGrp="1"/>
          </p:cNvGraphicFramePr>
          <p:nvPr/>
        </p:nvGraphicFramePr>
        <p:xfrm>
          <a:off x="827313" y="421538"/>
          <a:ext cx="10406743" cy="5498632"/>
        </p:xfrm>
        <a:graphic>
          <a:graphicData uri="http://schemas.openxmlformats.org/drawingml/2006/table">
            <a:tbl>
              <a:tblPr firstRow="1" bandRow="1">
                <a:tableStyleId>{5C22544A-7EE6-4342-B048-85BDC9FD1C3A}</a:tableStyleId>
              </a:tblPr>
              <a:tblGrid>
                <a:gridCol w="1151782">
                  <a:extLst>
                    <a:ext uri="{9D8B030D-6E8A-4147-A177-3AD203B41FA5}">
                      <a16:colId xmlns:a16="http://schemas.microsoft.com/office/drawing/2014/main" val="1822899487"/>
                    </a:ext>
                  </a:extLst>
                </a:gridCol>
                <a:gridCol w="9254961">
                  <a:extLst>
                    <a:ext uri="{9D8B030D-6E8A-4147-A177-3AD203B41FA5}">
                      <a16:colId xmlns:a16="http://schemas.microsoft.com/office/drawing/2014/main" val="2372882309"/>
                    </a:ext>
                  </a:extLst>
                </a:gridCol>
              </a:tblGrid>
              <a:tr h="345963">
                <a:tc gridSpan="2">
                  <a:txBody>
                    <a:bodyPr/>
                    <a:lstStyle/>
                    <a:p>
                      <a:r>
                        <a:rPr lang="en-GB" sz="1000" dirty="0"/>
                        <a:t>Example – End device sub-leased to end customer</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0000"/>
                    </a:solidFill>
                  </a:tcPr>
                </a:tc>
                <a:tc hMerge="1">
                  <a:txBody>
                    <a:bodyPr/>
                    <a:lstStyle/>
                    <a:p>
                      <a:endParaRPr lang="en-GB"/>
                    </a:p>
                  </a:txBody>
                  <a:tcPr>
                    <a:solidFill>
                      <a:schemeClr val="accent5"/>
                    </a:solidFill>
                  </a:tcPr>
                </a:tc>
                <a:extLst>
                  <a:ext uri="{0D108BD9-81ED-4DB2-BD59-A6C34878D82A}">
                    <a16:rowId xmlns:a16="http://schemas.microsoft.com/office/drawing/2014/main" val="3173797366"/>
                  </a:ext>
                </a:extLst>
              </a:tr>
              <a:tr h="1083070">
                <a:tc>
                  <a:txBody>
                    <a:bodyPr/>
                    <a:lstStyle/>
                    <a:p>
                      <a:r>
                        <a:rPr lang="en-GB" sz="1000" b="1" dirty="0">
                          <a:solidFill>
                            <a:schemeClr val="accent6">
                              <a:lumMod val="50000"/>
                            </a:schemeClr>
                          </a:solidFill>
                        </a:rPr>
                        <a:t>Fact Pattern</a:t>
                      </a:r>
                    </a:p>
                  </a:txBody>
                  <a:tcPr anchor="ctr">
                    <a:lnL w="12700" cmpd="sng">
                      <a:noFill/>
                    </a:lnL>
                    <a:lnR w="12700" cmpd="sng">
                      <a:noFill/>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285750" indent="-285750" algn="l" defTabSz="685800" rtl="0" eaLnBrk="1" latinLnBrk="0" hangingPunct="1">
                        <a:buFont typeface="Arial" panose="020B0604020202020204" pitchFamily="34" charset="0"/>
                        <a:buChar char="•"/>
                      </a:pPr>
                      <a:r>
                        <a:rPr lang="en-GB" sz="1000" b="0" i="0" kern="1200" dirty="0">
                          <a:solidFill>
                            <a:schemeClr val="dk1"/>
                          </a:solidFill>
                          <a:effectLst/>
                          <a:latin typeface="+mn-lt"/>
                          <a:ea typeface="+mn-ea"/>
                          <a:cs typeface="+mn-cs"/>
                        </a:rPr>
                        <a:t>Vodafone leases mobile phone from an external service provider. The lease term is assumed to be 24-36 months</a:t>
                      </a:r>
                    </a:p>
                    <a:p>
                      <a:pPr marL="0" indent="0" algn="l" defTabSz="685800" rtl="0" eaLnBrk="1" latinLnBrk="0" hangingPunct="1">
                        <a:buFont typeface="Arial" panose="020B0604020202020204" pitchFamily="34" charset="0"/>
                        <a:buNone/>
                      </a:pPr>
                      <a:endParaRPr lang="en-GB" sz="1000" b="1" i="1" kern="1200" dirty="0">
                        <a:solidFill>
                          <a:schemeClr val="bg1"/>
                        </a:solidFill>
                        <a:effectLst/>
                        <a:latin typeface="+mn-lt"/>
                        <a:ea typeface="+mn-ea"/>
                        <a:cs typeface="+mn-cs"/>
                      </a:endParaRPr>
                    </a:p>
                    <a:p>
                      <a:pPr marL="0" indent="0">
                        <a:buFont typeface="Arial" panose="020B0604020202020204" pitchFamily="34" charset="0"/>
                        <a:buNone/>
                      </a:pPr>
                      <a:endParaRPr lang="en-GB" sz="1000" b="1" i="1" kern="1200" dirty="0">
                        <a:solidFill>
                          <a:schemeClr val="bg1"/>
                        </a:solidFill>
                        <a:effectLst/>
                        <a:latin typeface="+mn-lt"/>
                        <a:ea typeface="+mn-ea"/>
                        <a:cs typeface="+mn-cs"/>
                      </a:endParaRPr>
                    </a:p>
                    <a:p>
                      <a:pPr marL="0" indent="0">
                        <a:buFont typeface="Arial" panose="020B0604020202020204" pitchFamily="34" charset="0"/>
                        <a:buNone/>
                      </a:pPr>
                      <a:r>
                        <a:rPr lang="en-GB" sz="1000" b="1" i="1" kern="1200" dirty="0">
                          <a:solidFill>
                            <a:schemeClr val="bg1"/>
                          </a:solidFill>
                          <a:effectLst/>
                          <a:latin typeface="+mn-lt"/>
                          <a:ea typeface="+mn-ea"/>
                          <a:cs typeface="+mn-cs"/>
                        </a:rPr>
                        <a:t>Question: How should Vodafone account for the same?</a:t>
                      </a:r>
                    </a:p>
                    <a:p>
                      <a:pPr marL="0" indent="0">
                        <a:buFont typeface="Arial" panose="020B0604020202020204" pitchFamily="34" charset="0"/>
                        <a:buNone/>
                      </a:pPr>
                      <a:endParaRPr lang="en-GB" sz="1000" b="1" i="1" kern="1200" dirty="0">
                        <a:solidFill>
                          <a:schemeClr val="accent5"/>
                        </a:solidFill>
                        <a:effectLst/>
                        <a:latin typeface="+mn-lt"/>
                        <a:ea typeface="+mn-ea"/>
                        <a:cs typeface="+mn-cs"/>
                      </a:endParaRPr>
                    </a:p>
                  </a:txBody>
                  <a:tcPr>
                    <a:lnL w="12700" cmpd="sng">
                      <a:noFill/>
                    </a:lnL>
                    <a:lnR w="12700" cmpd="sng">
                      <a:noFill/>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117035"/>
                  </a:ext>
                </a:extLst>
              </a:tr>
              <a:tr h="1638368">
                <a:tc>
                  <a:txBody>
                    <a:bodyPr/>
                    <a:lstStyle/>
                    <a:p>
                      <a:pPr marL="0" indent="0" algn="l" defTabSz="685800" rtl="0" eaLnBrk="1" latinLnBrk="0" hangingPunct="1">
                        <a:buFont typeface="Arial" panose="020B0604020202020204" pitchFamily="34" charset="0"/>
                        <a:buNone/>
                      </a:pPr>
                      <a:r>
                        <a:rPr lang="en-GB" sz="1000" b="1" kern="1200" dirty="0">
                          <a:solidFill>
                            <a:schemeClr val="accent6">
                              <a:lumMod val="50000"/>
                            </a:schemeClr>
                          </a:solidFill>
                          <a:latin typeface="+mn-lt"/>
                          <a:ea typeface="+mn-ea"/>
                          <a:cs typeface="+mn-cs"/>
                        </a:rPr>
                        <a:t>Analysi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514350" marR="0" lvl="1"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000" b="1" i="0" kern="1200" dirty="0">
                          <a:solidFill>
                            <a:schemeClr val="dk1"/>
                          </a:solidFill>
                          <a:effectLst/>
                          <a:latin typeface="+mn-lt"/>
                          <a:ea typeface="+mn-ea"/>
                          <a:cs typeface="+mn-cs"/>
                        </a:rPr>
                        <a:t>Identified Asset: </a:t>
                      </a:r>
                      <a:r>
                        <a:rPr lang="en-US" sz="1000" b="0" dirty="0">
                          <a:solidFill>
                            <a:sysClr val="windowText" lastClr="000000"/>
                          </a:solidFill>
                        </a:rPr>
                        <a:t>Specific mobile phone (IMEI/serial number).</a:t>
                      </a:r>
                    </a:p>
                    <a:p>
                      <a:pPr marL="514350" marR="0" lvl="1"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000" b="1" i="0" kern="1200" dirty="0">
                          <a:solidFill>
                            <a:schemeClr val="dk1"/>
                          </a:solidFill>
                          <a:effectLst/>
                          <a:latin typeface="+mn-lt"/>
                          <a:ea typeface="+mn-ea"/>
                          <a:cs typeface="+mn-cs"/>
                        </a:rPr>
                        <a:t>Substantive Substitution Right: </a:t>
                      </a:r>
                      <a:r>
                        <a:rPr lang="en-GB" sz="1000" b="0" i="0" kern="1200" dirty="0">
                          <a:solidFill>
                            <a:schemeClr val="dk1"/>
                          </a:solidFill>
                          <a:effectLst/>
                          <a:latin typeface="+mn-lt"/>
                          <a:ea typeface="+mn-ea"/>
                          <a:cs typeface="+mn-cs"/>
                        </a:rPr>
                        <a:t>Assumed that there are no substantive substitution rights.</a:t>
                      </a:r>
                    </a:p>
                    <a:p>
                      <a:pPr marL="514350" marR="0" lvl="1"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000" b="1" i="0" kern="1200" dirty="0">
                          <a:solidFill>
                            <a:schemeClr val="dk1"/>
                          </a:solidFill>
                          <a:effectLst/>
                          <a:latin typeface="+mn-lt"/>
                          <a:ea typeface="+mn-ea"/>
                          <a:cs typeface="+mn-cs"/>
                        </a:rPr>
                        <a:t>Control: Right to Obtain Substantially All Economic Benefits</a:t>
                      </a:r>
                      <a:r>
                        <a:rPr lang="en-GB" sz="1000" b="0" i="0" kern="1200" dirty="0">
                          <a:solidFill>
                            <a:schemeClr val="dk1"/>
                          </a:solidFill>
                          <a:effectLst/>
                          <a:latin typeface="+mn-lt"/>
                          <a:ea typeface="+mn-ea"/>
                          <a:cs typeface="+mn-cs"/>
                        </a:rPr>
                        <a:t>: </a:t>
                      </a:r>
                      <a:r>
                        <a:rPr lang="en-US" sz="1000" b="0" dirty="0">
                          <a:solidFill>
                            <a:sysClr val="windowText" lastClr="000000"/>
                          </a:solidFill>
                        </a:rPr>
                        <a:t>Exclusive physical possession and use for the entire term (e.g., 24 months).</a:t>
                      </a:r>
                    </a:p>
                    <a:p>
                      <a:pPr marL="857250" lvl="2" indent="-171450" algn="l">
                        <a:lnSpc>
                          <a:spcPct val="100000"/>
                        </a:lnSpc>
                        <a:buFont typeface="Arial" panose="020B0604020202020204" pitchFamily="34" charset="0"/>
                        <a:buChar char="•"/>
                        <a:defRPr/>
                      </a:pPr>
                      <a:r>
                        <a:rPr lang="en-US" sz="1000" b="0" dirty="0">
                          <a:solidFill>
                            <a:sysClr val="windowText" lastClr="000000"/>
                          </a:solidFill>
                        </a:rPr>
                        <a:t>Using or holding the asset: making calls, sending messages, accessing data, running applications, taking photos, managing schedules. </a:t>
                      </a:r>
                    </a:p>
                    <a:p>
                      <a:pPr marL="857250" lvl="2" indent="-171450" algn="l">
                        <a:lnSpc>
                          <a:spcPct val="100000"/>
                        </a:lnSpc>
                        <a:buFont typeface="Arial" panose="020B0604020202020204" pitchFamily="34" charset="0"/>
                        <a:buChar char="•"/>
                        <a:defRPr/>
                      </a:pPr>
                      <a:r>
                        <a:rPr lang="en-US" sz="1000" b="0" dirty="0">
                          <a:solidFill>
                            <a:sysClr val="windowText" lastClr="000000"/>
                          </a:solidFill>
                        </a:rPr>
                        <a:t>Sub-leasing the asset to another party</a:t>
                      </a:r>
                    </a:p>
                    <a:p>
                      <a:pPr marL="514350" marR="0" lvl="1"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GB" sz="1000" b="1" i="0" kern="1200" dirty="0">
                          <a:solidFill>
                            <a:schemeClr val="dk1"/>
                          </a:solidFill>
                          <a:effectLst/>
                          <a:latin typeface="+mn-lt"/>
                          <a:ea typeface="+mn-ea"/>
                          <a:cs typeface="+mn-cs"/>
                        </a:rPr>
                        <a:t>Control: Right to Direct the Use: </a:t>
                      </a:r>
                    </a:p>
                    <a:p>
                      <a:pPr marL="857250" lvl="2" indent="-171450" algn="l">
                        <a:lnSpc>
                          <a:spcPct val="100000"/>
                        </a:lnSpc>
                        <a:buFont typeface="Arial" panose="020B0604020202020204" pitchFamily="34" charset="0"/>
                        <a:buChar char="•"/>
                        <a:defRPr/>
                      </a:pPr>
                      <a:r>
                        <a:rPr lang="en-US" sz="1000" b="0" dirty="0">
                          <a:solidFill>
                            <a:sysClr val="windowText" lastClr="000000"/>
                          </a:solidFill>
                        </a:rPr>
                        <a:t>How to use the asset: which apps are installed, how it's configured, whether it's connected to Wi-Fi or mobile data, what accessories are used</a:t>
                      </a:r>
                    </a:p>
                    <a:p>
                      <a:pPr marL="857250" lvl="2" indent="-171450" algn="l">
                        <a:lnSpc>
                          <a:spcPct val="100000"/>
                        </a:lnSpc>
                        <a:buFont typeface="Arial" panose="020B0604020202020204" pitchFamily="34" charset="0"/>
                        <a:buChar char="•"/>
                        <a:defRPr/>
                      </a:pPr>
                      <a:r>
                        <a:rPr lang="en-US" sz="1000" b="0" dirty="0">
                          <a:solidFill>
                            <a:sysClr val="windowText" lastClr="000000"/>
                          </a:solidFill>
                        </a:rPr>
                        <a:t>For what purpose the asset is used: Business calls, emails, specific applications, or personal use</a:t>
                      </a:r>
                      <a:endParaRPr lang="en-US" sz="1000" kern="1200" dirty="0">
                        <a:solidFill>
                          <a:schemeClr val="dk1"/>
                        </a:solidFill>
                        <a:latin typeface="+mn-lt"/>
                        <a:ea typeface="+mn-ea"/>
                        <a:cs typeface="+mn-cs"/>
                      </a:endParaRPr>
                    </a:p>
                  </a:txBody>
                  <a:tcP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1266770"/>
                  </a:ext>
                </a:extLst>
              </a:tr>
              <a:tr h="2431231">
                <a:tc>
                  <a:txBody>
                    <a:bodyPr/>
                    <a:lstStyle/>
                    <a:p>
                      <a:pPr marL="0" indent="0" algn="l" defTabSz="685800" rtl="0" eaLnBrk="1" latinLnBrk="0" hangingPunct="1">
                        <a:buFont typeface="Arial" panose="020B0604020202020204" pitchFamily="34" charset="0"/>
                        <a:buNone/>
                      </a:pPr>
                      <a:r>
                        <a:rPr lang="en-GB" sz="1000" b="1" kern="1200" dirty="0">
                          <a:solidFill>
                            <a:schemeClr val="accent6">
                              <a:lumMod val="50000"/>
                            </a:schemeClr>
                          </a:solidFill>
                          <a:latin typeface="+mn-lt"/>
                          <a:ea typeface="+mn-ea"/>
                          <a:cs typeface="+mn-cs"/>
                        </a:rPr>
                        <a:t>Conclusion</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a:solidFill>
                            <a:schemeClr val="dk1"/>
                          </a:solidFill>
                          <a:effectLst/>
                          <a:latin typeface="+mn-lt"/>
                          <a:ea typeface="+mn-ea"/>
                          <a:cs typeface="+mn-cs"/>
                        </a:rPr>
                        <a:t>Initial measurement</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1" i="0" kern="1200" dirty="0">
                        <a:solidFill>
                          <a:schemeClr val="dk1"/>
                        </a:solidFill>
                        <a:effectLst/>
                        <a:latin typeface="+mn-lt"/>
                        <a:ea typeface="+mn-ea"/>
                        <a:cs typeface="+mn-cs"/>
                      </a:endParaRPr>
                    </a:p>
                    <a:p>
                      <a:pPr marL="342900" marR="0" lvl="1"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i="0" kern="1200" dirty="0">
                          <a:solidFill>
                            <a:schemeClr val="dk1"/>
                          </a:solidFill>
                          <a:effectLst/>
                          <a:latin typeface="+mn-lt"/>
                          <a:ea typeface="+mn-ea"/>
                          <a:cs typeface="+mn-cs"/>
                        </a:rPr>
                        <a:t>DR </a:t>
                      </a:r>
                      <a:r>
                        <a:rPr lang="en-GB" sz="1000" b="0" i="0" kern="1200" dirty="0">
                          <a:solidFill>
                            <a:schemeClr val="dk1"/>
                          </a:solidFill>
                          <a:effectLst/>
                          <a:latin typeface="+mn-lt"/>
                          <a:ea typeface="+mn-ea"/>
                          <a:cs typeface="+mn-cs"/>
                        </a:rPr>
                        <a:t>Right-of-Use Asset </a:t>
                      </a:r>
                    </a:p>
                    <a:p>
                      <a:pPr marL="685800" marR="0" lvl="2"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i="0" kern="1200" dirty="0">
                          <a:solidFill>
                            <a:schemeClr val="dk1"/>
                          </a:solidFill>
                          <a:effectLst/>
                          <a:latin typeface="+mn-lt"/>
                          <a:ea typeface="+mn-ea"/>
                          <a:cs typeface="+mn-cs"/>
                        </a:rPr>
                        <a:t>CR </a:t>
                      </a:r>
                      <a:r>
                        <a:rPr lang="en-GB" sz="1000" b="0" i="0" kern="1200" dirty="0">
                          <a:solidFill>
                            <a:schemeClr val="dk1"/>
                          </a:solidFill>
                          <a:effectLst/>
                          <a:latin typeface="+mn-lt"/>
                          <a:ea typeface="+mn-ea"/>
                          <a:cs typeface="+mn-cs"/>
                        </a:rPr>
                        <a:t>Lease Liability </a:t>
                      </a:r>
                    </a:p>
                    <a:p>
                      <a:pPr marL="685800" marR="0" lvl="2"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i="0" kern="1200" dirty="0">
                        <a:solidFill>
                          <a:schemeClr val="dk1"/>
                        </a:solidFill>
                        <a:effectLst/>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a:solidFill>
                            <a:schemeClr val="dk1"/>
                          </a:solidFill>
                          <a:effectLst/>
                          <a:latin typeface="+mn-lt"/>
                          <a:ea typeface="+mn-ea"/>
                          <a:cs typeface="+mn-cs"/>
                        </a:rPr>
                        <a:t>Subsequent measurement</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i="0" kern="1200" dirty="0">
                        <a:solidFill>
                          <a:schemeClr val="dk1"/>
                        </a:solidFill>
                        <a:effectLst/>
                        <a:latin typeface="+mn-lt"/>
                        <a:ea typeface="+mn-ea"/>
                        <a:cs typeface="+mn-cs"/>
                      </a:endParaRPr>
                    </a:p>
                    <a:p>
                      <a:pPr marL="342900" marR="0" lvl="1"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i="0" kern="1200" dirty="0">
                          <a:solidFill>
                            <a:schemeClr val="dk1"/>
                          </a:solidFill>
                          <a:effectLst/>
                          <a:latin typeface="+mn-lt"/>
                          <a:ea typeface="+mn-ea"/>
                          <a:cs typeface="+mn-cs"/>
                        </a:rPr>
                        <a:t>DR </a:t>
                      </a:r>
                      <a:r>
                        <a:rPr lang="en-GB" sz="1000" b="0" i="0" kern="1200" dirty="0">
                          <a:solidFill>
                            <a:schemeClr val="dk1"/>
                          </a:solidFill>
                          <a:effectLst/>
                          <a:latin typeface="+mn-lt"/>
                          <a:ea typeface="+mn-ea"/>
                          <a:cs typeface="+mn-cs"/>
                        </a:rPr>
                        <a:t>Depreciation</a:t>
                      </a:r>
                    </a:p>
                    <a:p>
                      <a:pPr marL="342900" marR="0" lvl="1"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dirty="0">
                          <a:solidFill>
                            <a:schemeClr val="dk1"/>
                          </a:solidFill>
                          <a:effectLst/>
                          <a:latin typeface="+mn-lt"/>
                          <a:ea typeface="+mn-ea"/>
                          <a:cs typeface="+mn-cs"/>
                        </a:rPr>
                        <a:t>         </a:t>
                      </a:r>
                      <a:r>
                        <a:rPr lang="en-GB" sz="1000" b="1" i="0" kern="1200" dirty="0">
                          <a:solidFill>
                            <a:schemeClr val="dk1"/>
                          </a:solidFill>
                          <a:effectLst/>
                          <a:latin typeface="+mn-lt"/>
                          <a:ea typeface="+mn-ea"/>
                          <a:cs typeface="+mn-cs"/>
                        </a:rPr>
                        <a:t>CR </a:t>
                      </a:r>
                      <a:r>
                        <a:rPr lang="en-GB" sz="1000" b="0" i="0" kern="1200" dirty="0">
                          <a:solidFill>
                            <a:schemeClr val="dk1"/>
                          </a:solidFill>
                          <a:effectLst/>
                          <a:latin typeface="+mn-lt"/>
                          <a:ea typeface="+mn-ea"/>
                          <a:cs typeface="+mn-cs"/>
                        </a:rPr>
                        <a:t>Right-of-Use Asset </a:t>
                      </a:r>
                    </a:p>
                    <a:p>
                      <a:pPr marL="342900" marR="0" lvl="1"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i="0" kern="1200" dirty="0">
                        <a:solidFill>
                          <a:schemeClr val="dk1"/>
                        </a:solidFill>
                        <a:effectLst/>
                        <a:latin typeface="+mn-lt"/>
                        <a:ea typeface="+mn-ea"/>
                        <a:cs typeface="+mn-cs"/>
                      </a:endParaRPr>
                    </a:p>
                    <a:p>
                      <a:pPr marL="342900" marR="0" lvl="1"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i="0" kern="1200" dirty="0">
                          <a:solidFill>
                            <a:schemeClr val="dk1"/>
                          </a:solidFill>
                          <a:effectLst/>
                          <a:latin typeface="+mn-lt"/>
                          <a:ea typeface="+mn-ea"/>
                          <a:cs typeface="+mn-cs"/>
                        </a:rPr>
                        <a:t>DR </a:t>
                      </a:r>
                      <a:r>
                        <a:rPr lang="en-GB" sz="1000" b="0" i="0" kern="1200" dirty="0">
                          <a:solidFill>
                            <a:schemeClr val="dk1"/>
                          </a:solidFill>
                          <a:effectLst/>
                          <a:latin typeface="+mn-lt"/>
                          <a:ea typeface="+mn-ea"/>
                          <a:cs typeface="+mn-cs"/>
                        </a:rPr>
                        <a:t>Interest expense</a:t>
                      </a:r>
                    </a:p>
                    <a:p>
                      <a:pPr marL="342900" marR="0" lvl="1"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dirty="0">
                          <a:solidFill>
                            <a:schemeClr val="dk1"/>
                          </a:solidFill>
                          <a:effectLst/>
                          <a:latin typeface="+mn-lt"/>
                          <a:ea typeface="+mn-ea"/>
                          <a:cs typeface="+mn-cs"/>
                        </a:rPr>
                        <a:t>         </a:t>
                      </a:r>
                      <a:r>
                        <a:rPr lang="en-GB" sz="1000" b="1" i="0" kern="1200" dirty="0">
                          <a:solidFill>
                            <a:schemeClr val="dk1"/>
                          </a:solidFill>
                          <a:effectLst/>
                          <a:latin typeface="+mn-lt"/>
                          <a:ea typeface="+mn-ea"/>
                          <a:cs typeface="+mn-cs"/>
                        </a:rPr>
                        <a:t>CR </a:t>
                      </a:r>
                      <a:r>
                        <a:rPr lang="en-GB" sz="1000" b="0" i="0" kern="1200" dirty="0">
                          <a:solidFill>
                            <a:schemeClr val="dk1"/>
                          </a:solidFill>
                          <a:effectLst/>
                          <a:latin typeface="+mn-lt"/>
                          <a:ea typeface="+mn-ea"/>
                          <a:cs typeface="+mn-cs"/>
                        </a:rPr>
                        <a:t>Lease Liability </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6058170"/>
                  </a:ext>
                </a:extLst>
              </a:tr>
            </a:tbl>
          </a:graphicData>
        </a:graphic>
      </p:graphicFrame>
      <p:sp>
        <p:nvSpPr>
          <p:cNvPr id="2" name="Rectangle 1">
            <a:extLst>
              <a:ext uri="{FF2B5EF4-FFF2-40B4-BE49-F238E27FC236}">
                <a16:creationId xmlns:a16="http://schemas.microsoft.com/office/drawing/2014/main" id="{6B924254-270E-7DD8-886D-4FF9B616E6F5}"/>
              </a:ext>
            </a:extLst>
          </p:cNvPr>
          <p:cNvSpPr/>
          <p:nvPr/>
        </p:nvSpPr>
        <p:spPr>
          <a:xfrm>
            <a:off x="827313" y="6158033"/>
            <a:ext cx="10406742" cy="500743"/>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a:ea typeface="+mn-ea"/>
                <a:cs typeface="+mn-cs"/>
              </a:rPr>
              <a:t>Impact: IFRS 16 front-loads expense below EBITDA rather than affecting EBITDA. </a:t>
            </a:r>
            <a:endParaRPr kumimoji="0" lang="en-GB" sz="1200" b="0" i="0" u="none" strike="noStrike" kern="1200" cap="none" spc="0" normalizeH="0" baseline="0" noProof="0" dirty="0">
              <a:ln>
                <a:noFill/>
              </a:ln>
              <a:solidFill>
                <a:srgbClr val="FF0000"/>
              </a:solidFill>
              <a:effectLst/>
              <a:uLnTx/>
              <a:uFillTx/>
              <a:latin typeface="Calibri"/>
              <a:ea typeface="+mn-ea"/>
              <a:cs typeface="+mn-cs"/>
            </a:endParaRPr>
          </a:p>
        </p:txBody>
      </p:sp>
    </p:spTree>
    <p:custDataLst>
      <p:custData r:id="rId1"/>
      <p:custData r:id="rId2"/>
    </p:custDataLst>
    <p:extLst>
      <p:ext uri="{BB962C8B-B14F-4D97-AF65-F5344CB8AC3E}">
        <p14:creationId xmlns:p14="http://schemas.microsoft.com/office/powerpoint/2010/main" val="23694637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F2000C9-CE7F-FD2F-58B6-EA75E252DFBD}"/>
            </a:ext>
          </a:extLst>
        </p:cNvPr>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D50212FB-B929-8A7D-13D3-2682123F6FF0}"/>
              </a:ext>
            </a:extLst>
          </p:cNvPr>
          <p:cNvGraphicFramePr>
            <a:graphicFrameLocks noGrp="1"/>
          </p:cNvGraphicFramePr>
          <p:nvPr/>
        </p:nvGraphicFramePr>
        <p:xfrm>
          <a:off x="827313" y="421538"/>
          <a:ext cx="10406743" cy="5498632"/>
        </p:xfrm>
        <a:graphic>
          <a:graphicData uri="http://schemas.openxmlformats.org/drawingml/2006/table">
            <a:tbl>
              <a:tblPr firstRow="1" bandRow="1">
                <a:tableStyleId>{5C22544A-7EE6-4342-B048-85BDC9FD1C3A}</a:tableStyleId>
              </a:tblPr>
              <a:tblGrid>
                <a:gridCol w="1151782">
                  <a:extLst>
                    <a:ext uri="{9D8B030D-6E8A-4147-A177-3AD203B41FA5}">
                      <a16:colId xmlns:a16="http://schemas.microsoft.com/office/drawing/2014/main" val="1822899487"/>
                    </a:ext>
                  </a:extLst>
                </a:gridCol>
                <a:gridCol w="9254961">
                  <a:extLst>
                    <a:ext uri="{9D8B030D-6E8A-4147-A177-3AD203B41FA5}">
                      <a16:colId xmlns:a16="http://schemas.microsoft.com/office/drawing/2014/main" val="2372882309"/>
                    </a:ext>
                  </a:extLst>
                </a:gridCol>
              </a:tblGrid>
              <a:tr h="345963">
                <a:tc gridSpan="2">
                  <a:txBody>
                    <a:bodyPr/>
                    <a:lstStyle/>
                    <a:p>
                      <a:r>
                        <a:rPr lang="en-GB" sz="1000" dirty="0"/>
                        <a:t>Example – End device sub-leased to end customer</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0000"/>
                    </a:solidFill>
                  </a:tcPr>
                </a:tc>
                <a:tc hMerge="1">
                  <a:txBody>
                    <a:bodyPr/>
                    <a:lstStyle/>
                    <a:p>
                      <a:endParaRPr lang="en-GB"/>
                    </a:p>
                  </a:txBody>
                  <a:tcPr>
                    <a:solidFill>
                      <a:schemeClr val="accent5"/>
                    </a:solidFill>
                  </a:tcPr>
                </a:tc>
                <a:extLst>
                  <a:ext uri="{0D108BD9-81ED-4DB2-BD59-A6C34878D82A}">
                    <a16:rowId xmlns:a16="http://schemas.microsoft.com/office/drawing/2014/main" val="3173797366"/>
                  </a:ext>
                </a:extLst>
              </a:tr>
              <a:tr h="1083070">
                <a:tc>
                  <a:txBody>
                    <a:bodyPr/>
                    <a:lstStyle/>
                    <a:p>
                      <a:r>
                        <a:rPr lang="en-GB" sz="1000" b="1" dirty="0">
                          <a:solidFill>
                            <a:schemeClr val="accent6">
                              <a:lumMod val="50000"/>
                            </a:schemeClr>
                          </a:solidFill>
                        </a:rPr>
                        <a:t>Fact Pattern</a:t>
                      </a:r>
                    </a:p>
                  </a:txBody>
                  <a:tcPr anchor="ctr">
                    <a:lnL w="12700" cmpd="sng">
                      <a:noFill/>
                    </a:lnL>
                    <a:lnR w="12700" cmpd="sng">
                      <a:noFill/>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a:solidFill>
                            <a:schemeClr val="dk1"/>
                          </a:solidFill>
                          <a:effectLst/>
                          <a:latin typeface="+mn-lt"/>
                          <a:ea typeface="+mn-ea"/>
                          <a:cs typeface="+mn-cs"/>
                        </a:rPr>
                        <a:t>Head lease: Vodafone enters into a 24-36 months lease for handset with an external service provider (the head lessor)</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a:solidFill>
                            <a:schemeClr val="dk1"/>
                          </a:solidFill>
                          <a:effectLst/>
                          <a:latin typeface="+mn-lt"/>
                          <a:ea typeface="+mn-ea"/>
                          <a:cs typeface="+mn-cs"/>
                        </a:rPr>
                        <a:t>Sub-lease: Vodafone leases mobile phone to the end customer. </a:t>
                      </a:r>
                      <a:r>
                        <a:rPr lang="en-US" sz="1000" dirty="0"/>
                        <a:t>There is no purchase option for the customer. The contract term is 24 months. There is generally a one-time renewal option of 12 months.</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1" i="1" kern="1200" dirty="0">
                        <a:solidFill>
                          <a:schemeClr val="bg1"/>
                        </a:solidFill>
                        <a:effectLst/>
                        <a:latin typeface="+mn-lt"/>
                        <a:ea typeface="+mn-ea"/>
                        <a:cs typeface="+mn-cs"/>
                      </a:endParaRPr>
                    </a:p>
                    <a:p>
                      <a:pPr marL="0" indent="0">
                        <a:buFont typeface="Arial" panose="020B0604020202020204" pitchFamily="34" charset="0"/>
                        <a:buNone/>
                      </a:pPr>
                      <a:r>
                        <a:rPr lang="en-GB" sz="1000" b="1" i="1" kern="1200" dirty="0">
                          <a:solidFill>
                            <a:schemeClr val="bg1"/>
                          </a:solidFill>
                          <a:effectLst/>
                          <a:latin typeface="+mn-lt"/>
                          <a:ea typeface="+mn-ea"/>
                          <a:cs typeface="+mn-cs"/>
                        </a:rPr>
                        <a:t>Question: How should Vodafone account for the sub-lease?</a:t>
                      </a:r>
                    </a:p>
                    <a:p>
                      <a:pPr marL="0" indent="0">
                        <a:buFont typeface="Arial" panose="020B0604020202020204" pitchFamily="34" charset="0"/>
                        <a:buNone/>
                      </a:pPr>
                      <a:endParaRPr lang="en-GB" sz="1000" b="1" i="1" kern="1200" dirty="0">
                        <a:solidFill>
                          <a:schemeClr val="accent5"/>
                        </a:solidFill>
                        <a:effectLst/>
                        <a:latin typeface="+mn-lt"/>
                        <a:ea typeface="+mn-ea"/>
                        <a:cs typeface="+mn-cs"/>
                      </a:endParaRPr>
                    </a:p>
                  </a:txBody>
                  <a:tcPr>
                    <a:lnL w="12700" cmpd="sng">
                      <a:noFill/>
                    </a:lnL>
                    <a:lnR w="12700" cmpd="sng">
                      <a:noFill/>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117035"/>
                  </a:ext>
                </a:extLst>
              </a:tr>
              <a:tr h="1638368">
                <a:tc>
                  <a:txBody>
                    <a:bodyPr/>
                    <a:lstStyle/>
                    <a:p>
                      <a:pPr marL="0" indent="0" algn="l" defTabSz="685800" rtl="0" eaLnBrk="1" latinLnBrk="0" hangingPunct="1">
                        <a:buFont typeface="Arial" panose="020B0604020202020204" pitchFamily="34" charset="0"/>
                        <a:buNone/>
                      </a:pPr>
                      <a:r>
                        <a:rPr lang="en-GB" sz="1000" b="1" kern="1200" dirty="0">
                          <a:solidFill>
                            <a:schemeClr val="accent6">
                              <a:lumMod val="50000"/>
                            </a:schemeClr>
                          </a:solidFill>
                          <a:latin typeface="+mn-lt"/>
                          <a:ea typeface="+mn-ea"/>
                          <a:cs typeface="+mn-cs"/>
                        </a:rPr>
                        <a:t>Analysi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dirty="0"/>
                        <a:t>In classifying a sublease, Vodafone classifies the sublease as a finance lease or an operating lease by reference to the right-of-use asset arising from the head lease.</a:t>
                      </a:r>
                    </a:p>
                    <a:p>
                      <a:pPr marL="0" indent="0">
                        <a:buFont typeface="Arial" panose="020B0604020202020204" pitchFamily="34" charset="0"/>
                        <a:buNone/>
                      </a:pPr>
                      <a:endParaRPr lang="en-GB" sz="1000" dirty="0"/>
                    </a:p>
                    <a:p>
                      <a:pPr marL="0" indent="0">
                        <a:buFont typeface="Arial" panose="020B0604020202020204" pitchFamily="34" charset="0"/>
                        <a:buNone/>
                      </a:pPr>
                      <a:r>
                        <a:rPr lang="en-GB" sz="1000" dirty="0"/>
                        <a:t>A lease is classified as a finance lease if it transfers substantially all the risks and rewards incidental to ownership of an underlying asset. A lease is classified as an operating lease if it does not transfer substantially all the risks and rewards incidental to ownership of an underlying asset.</a:t>
                      </a:r>
                    </a:p>
                    <a:p>
                      <a:pPr marL="0" indent="0">
                        <a:buFont typeface="Arial" panose="020B0604020202020204" pitchFamily="34" charset="0"/>
                        <a:buNone/>
                      </a:pPr>
                      <a:endParaRPr lang="en-GB" sz="1000" dirty="0"/>
                    </a:p>
                    <a:p>
                      <a:pPr marL="171450" indent="-171450">
                        <a:buFont typeface="Arial" panose="020B0604020202020204" pitchFamily="34" charset="0"/>
                        <a:buChar char="•"/>
                      </a:pPr>
                      <a:r>
                        <a:rPr lang="en-US" sz="1000" dirty="0"/>
                        <a:t>Lease Term: The sub-lease term (24-36 months) covers 100% of the economic life of Vodafone's Right-of-Use (ROU) asset.</a:t>
                      </a:r>
                    </a:p>
                    <a:p>
                      <a:pPr marL="171450" indent="-171450">
                        <a:buFont typeface="Arial" panose="020B0604020202020204" pitchFamily="34" charset="0"/>
                        <a:buChar char="•"/>
                      </a:pPr>
                      <a:r>
                        <a:rPr lang="en-US" sz="1000" dirty="0"/>
                        <a:t>Present Value of Payments: The present value of sub-lease payments is expected to amount to substantially all of the fair value of Vodafone's ROU asset.</a:t>
                      </a:r>
                      <a:endParaRPr lang="en-GB" sz="1000" dirty="0"/>
                    </a:p>
                    <a:p>
                      <a:pPr marL="0" indent="0">
                        <a:buFont typeface="Arial" panose="020B0604020202020204" pitchFamily="34" charset="0"/>
                        <a:buNone/>
                      </a:pPr>
                      <a:endParaRPr lang="en-US" sz="1000" kern="1200" dirty="0">
                        <a:solidFill>
                          <a:schemeClr val="dk1"/>
                        </a:solidFill>
                        <a:latin typeface="+mn-lt"/>
                        <a:ea typeface="+mn-ea"/>
                        <a:cs typeface="+mn-cs"/>
                      </a:endParaRPr>
                    </a:p>
                    <a:p>
                      <a:pPr marL="0" indent="0">
                        <a:buFont typeface="Arial" panose="020B0604020202020204" pitchFamily="34" charset="0"/>
                        <a:buNone/>
                      </a:pPr>
                      <a:r>
                        <a:rPr lang="en-US" sz="1000" kern="1200" dirty="0">
                          <a:solidFill>
                            <a:schemeClr val="dk1"/>
                          </a:solidFill>
                          <a:latin typeface="+mn-lt"/>
                          <a:ea typeface="+mn-ea"/>
                          <a:cs typeface="+mn-cs"/>
                        </a:rPr>
                        <a:t>Vodafone concludes the sub-lease as finance lease..</a:t>
                      </a:r>
                    </a:p>
                  </a:txBody>
                  <a:tcP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1266770"/>
                  </a:ext>
                </a:extLst>
              </a:tr>
              <a:tr h="2431231">
                <a:tc>
                  <a:txBody>
                    <a:bodyPr/>
                    <a:lstStyle/>
                    <a:p>
                      <a:pPr marL="0" indent="0" algn="l" defTabSz="685800" rtl="0" eaLnBrk="1" latinLnBrk="0" hangingPunct="1">
                        <a:buFont typeface="Arial" panose="020B0604020202020204" pitchFamily="34" charset="0"/>
                        <a:buNone/>
                      </a:pPr>
                      <a:r>
                        <a:rPr lang="en-GB" sz="1000" b="1" kern="1200" dirty="0">
                          <a:solidFill>
                            <a:schemeClr val="accent6">
                              <a:lumMod val="50000"/>
                            </a:schemeClr>
                          </a:solidFill>
                          <a:latin typeface="+mn-lt"/>
                          <a:ea typeface="+mn-ea"/>
                          <a:cs typeface="+mn-cs"/>
                        </a:rPr>
                        <a:t>Conclusion</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dirty="0">
                          <a:solidFill>
                            <a:schemeClr val="dk1"/>
                          </a:solidFill>
                          <a:effectLst/>
                          <a:latin typeface="+mn-lt"/>
                          <a:ea typeface="+mn-ea"/>
                          <a:cs typeface="+mn-cs"/>
                        </a:rPr>
                        <a:t>When Vodafone as an intermediate lessor enters into a sublease classified as </a:t>
                      </a:r>
                      <a:r>
                        <a:rPr lang="en-GB" sz="1000" b="1" i="0" u="sng" kern="1200" dirty="0">
                          <a:solidFill>
                            <a:schemeClr val="dk1"/>
                          </a:solidFill>
                          <a:effectLst/>
                          <a:latin typeface="+mn-lt"/>
                          <a:ea typeface="+mn-ea"/>
                          <a:cs typeface="+mn-cs"/>
                        </a:rPr>
                        <a:t>finance lease</a:t>
                      </a:r>
                      <a:r>
                        <a:rPr lang="en-GB" sz="1000" b="0" i="0" kern="1200" dirty="0">
                          <a:solidFill>
                            <a:schemeClr val="dk1"/>
                          </a:solidFill>
                          <a:effectLst/>
                          <a:latin typeface="+mn-lt"/>
                          <a:ea typeface="+mn-ea"/>
                          <a:cs typeface="+mn-cs"/>
                        </a:rPr>
                        <a:t>:</a:t>
                      </a:r>
                    </a:p>
                    <a:p>
                      <a:pPr marL="342900" marR="0" lvl="1"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1" i="0" kern="120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i="0" kern="1200" dirty="0">
                          <a:solidFill>
                            <a:schemeClr val="dk1"/>
                          </a:solidFill>
                          <a:effectLst/>
                          <a:latin typeface="+mn-lt"/>
                          <a:ea typeface="+mn-ea"/>
                          <a:cs typeface="+mn-cs"/>
                        </a:rPr>
                        <a:t>DR            </a:t>
                      </a:r>
                      <a:r>
                        <a:rPr lang="en-GB" sz="1000" b="0" i="0" kern="1200" dirty="0">
                          <a:solidFill>
                            <a:schemeClr val="dk1"/>
                          </a:solidFill>
                          <a:effectLst/>
                          <a:latin typeface="+mn-lt"/>
                          <a:ea typeface="+mn-ea"/>
                          <a:cs typeface="+mn-cs"/>
                        </a:rPr>
                        <a:t>Net Investment in Sublease </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i="0" kern="1200" dirty="0">
                          <a:solidFill>
                            <a:schemeClr val="dk1"/>
                          </a:solidFill>
                          <a:effectLst/>
                          <a:latin typeface="+mn-lt"/>
                          <a:ea typeface="+mn-ea"/>
                          <a:cs typeface="+mn-cs"/>
                        </a:rPr>
                        <a:t>CR</a:t>
                      </a:r>
                      <a:r>
                        <a:rPr lang="en-GB" sz="1000" b="0" i="0" kern="1200" dirty="0">
                          <a:solidFill>
                            <a:schemeClr val="dk1"/>
                          </a:solidFill>
                          <a:effectLst/>
                          <a:latin typeface="+mn-lt"/>
                          <a:ea typeface="+mn-ea"/>
                          <a:cs typeface="+mn-cs"/>
                        </a:rPr>
                        <a:t>            ROU Asset </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i="0" kern="1200" dirty="0">
                          <a:solidFill>
                            <a:schemeClr val="dk1"/>
                          </a:solidFill>
                          <a:effectLst/>
                          <a:latin typeface="+mn-lt"/>
                          <a:ea typeface="+mn-ea"/>
                          <a:cs typeface="+mn-cs"/>
                        </a:rPr>
                        <a:t>DR/CR</a:t>
                      </a:r>
                      <a:r>
                        <a:rPr lang="en-GB" sz="1000" b="0" i="0" kern="1200" dirty="0">
                          <a:solidFill>
                            <a:schemeClr val="dk1"/>
                          </a:solidFill>
                          <a:effectLst/>
                          <a:latin typeface="+mn-lt"/>
                          <a:ea typeface="+mn-ea"/>
                          <a:cs typeface="+mn-cs"/>
                        </a:rPr>
                        <a:t>     Income Statement (for any difference between ROU Asset and Net Investment) </a:t>
                      </a:r>
                    </a:p>
                    <a:p>
                      <a:pPr marL="342900" marR="0" lvl="1"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1" i="0" kern="120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dirty="0">
                          <a:solidFill>
                            <a:schemeClr val="dk1"/>
                          </a:solidFill>
                          <a:effectLst/>
                          <a:latin typeface="+mn-lt"/>
                          <a:ea typeface="+mn-ea"/>
                          <a:cs typeface="+mn-cs"/>
                        </a:rPr>
                        <a:t>Lease Liability relating to head lease is retained on balance sheet; and over the term of the sublease, recognise both finance income on sublease and interest expense on head lease during the term of sublease.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0" i="0" kern="120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dirty="0">
                          <a:solidFill>
                            <a:schemeClr val="dk1"/>
                          </a:solidFill>
                          <a:effectLst/>
                          <a:latin typeface="+mn-lt"/>
                          <a:ea typeface="+mn-ea"/>
                          <a:cs typeface="+mn-cs"/>
                        </a:rPr>
                        <a:t>In contrast, if the sublease is classified as an </a:t>
                      </a:r>
                      <a:r>
                        <a:rPr lang="en-GB" sz="1000" b="1" i="0" u="sng" kern="1200" dirty="0">
                          <a:solidFill>
                            <a:schemeClr val="dk1"/>
                          </a:solidFill>
                          <a:effectLst/>
                          <a:latin typeface="+mn-lt"/>
                          <a:ea typeface="+mn-ea"/>
                          <a:cs typeface="+mn-cs"/>
                        </a:rPr>
                        <a:t>operating lease</a:t>
                      </a:r>
                      <a:r>
                        <a:rPr lang="en-GB" sz="1000" b="0" i="0" kern="1200" dirty="0">
                          <a:solidFill>
                            <a:schemeClr val="dk1"/>
                          </a:solidFill>
                          <a:effectLst/>
                          <a:latin typeface="+mn-lt"/>
                          <a:ea typeface="+mn-ea"/>
                          <a:cs typeface="+mn-cs"/>
                        </a:rPr>
                        <a:t>:</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a:solidFill>
                            <a:schemeClr val="dk1"/>
                          </a:solidFill>
                          <a:effectLst/>
                          <a:latin typeface="+mn-lt"/>
                          <a:ea typeface="+mn-ea"/>
                          <a:cs typeface="+mn-cs"/>
                        </a:rPr>
                        <a:t>Recognise depreciation charge for the ROU asset and interest on lease liability; and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a:solidFill>
                            <a:schemeClr val="dk1"/>
                          </a:solidFill>
                          <a:effectLst/>
                          <a:latin typeface="+mn-lt"/>
                          <a:ea typeface="+mn-ea"/>
                          <a:cs typeface="+mn-cs"/>
                        </a:rPr>
                        <a:t>Recognise lease income from subleas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6058170"/>
                  </a:ext>
                </a:extLst>
              </a:tr>
            </a:tbl>
          </a:graphicData>
        </a:graphic>
      </p:graphicFrame>
      <p:sp>
        <p:nvSpPr>
          <p:cNvPr id="5" name="Rectangle 4">
            <a:extLst>
              <a:ext uri="{FF2B5EF4-FFF2-40B4-BE49-F238E27FC236}">
                <a16:creationId xmlns:a16="http://schemas.microsoft.com/office/drawing/2014/main" id="{E3011383-C43B-4307-999D-13B207F93426}"/>
              </a:ext>
            </a:extLst>
          </p:cNvPr>
          <p:cNvSpPr/>
          <p:nvPr/>
        </p:nvSpPr>
        <p:spPr>
          <a:xfrm>
            <a:off x="827313" y="6158033"/>
            <a:ext cx="10406742" cy="500743"/>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a:ea typeface="+mn-ea"/>
                <a:cs typeface="+mn-cs"/>
              </a:rPr>
              <a:t>Impact: Finance lease classification results in EBITDA on Day 1. Generally, any sub-lease&gt;75 % of the head lease term can be booked as a finance lease. </a:t>
            </a:r>
            <a:endParaRPr kumimoji="0" lang="en-GB" sz="1200" b="0" i="0" u="none" strike="noStrike" kern="1200" cap="none" spc="0" normalizeH="0" baseline="0" noProof="0" dirty="0">
              <a:ln>
                <a:noFill/>
              </a:ln>
              <a:solidFill>
                <a:srgbClr val="FF0000"/>
              </a:solidFill>
              <a:effectLst/>
              <a:uLnTx/>
              <a:uFillTx/>
              <a:latin typeface="Calibri"/>
              <a:ea typeface="+mn-ea"/>
              <a:cs typeface="+mn-cs"/>
            </a:endParaRPr>
          </a:p>
        </p:txBody>
      </p:sp>
    </p:spTree>
    <p:custDataLst>
      <p:custData r:id="rId1"/>
      <p:custData r:id="rId2"/>
    </p:custDataLst>
    <p:extLst>
      <p:ext uri="{BB962C8B-B14F-4D97-AF65-F5344CB8AC3E}">
        <p14:creationId xmlns:p14="http://schemas.microsoft.com/office/powerpoint/2010/main" val="380931224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TemplafySlideTemplateConfiguration><![CDATA[{"slideVersion":2,"isValidatorEnabled":false,"isLocked":false,"elementsMetadata":[],"slideId":"638203349557714325","enableDocumentContentUpdater":false,"version":"2.0"}]]></TemplafySlideTemplateConfiguration>
</file>

<file path=customXml/item2.xml><?xml version="1.0" encoding="utf-8"?>
<TemplafySlideFormConfiguration><![CDATA[{"formFields":[],"formDataEntries":[]}]]></TemplafySlideFormConfiguration>
</file>

<file path=customXml/item3.xml><?xml version="1.0" encoding="utf-8"?>
<TemplafySlideTemplateConfiguration><![CDATA[{"slideVersion":2,"isValidatorEnabled":false,"isLocked":false,"elementsMetadata":[],"slideId":"638203349557714325","enableDocumentContentUpdater":false,"version":"2.0"}]]></TemplafySlideTemplateConfiguration>
</file>

<file path=customXml/item4.xml><?xml version="1.0" encoding="utf-8"?>
<TemplafySlideFormConfiguration><![CDATA[{"formFields":[],"formDataEntries":[]}]]></TemplafySlideFormConfiguration>
</file>

<file path=customXml/itemProps1.xml><?xml version="1.0" encoding="utf-8"?>
<ds:datastoreItem xmlns:ds="http://schemas.openxmlformats.org/officeDocument/2006/customXml" ds:itemID="{A8B30802-C82A-42F7-AA80-778385F9CF3F}">
  <ds:schemaRefs/>
</ds:datastoreItem>
</file>

<file path=customXml/itemProps2.xml><?xml version="1.0" encoding="utf-8"?>
<ds:datastoreItem xmlns:ds="http://schemas.openxmlformats.org/officeDocument/2006/customXml" ds:itemID="{D0F907CC-6AA0-4681-BD6C-87640CA75CF9}">
  <ds:schemaRefs/>
</ds:datastoreItem>
</file>

<file path=customXml/itemProps3.xml><?xml version="1.0" encoding="utf-8"?>
<ds:datastoreItem xmlns:ds="http://schemas.openxmlformats.org/officeDocument/2006/customXml" ds:itemID="{9B31D94B-FF95-4D59-A75F-0F2A32EC558A}">
  <ds:schemaRefs/>
</ds:datastoreItem>
</file>

<file path=customXml/itemProps4.xml><?xml version="1.0" encoding="utf-8"?>
<ds:datastoreItem xmlns:ds="http://schemas.openxmlformats.org/officeDocument/2006/customXml" ds:itemID="{E5B76698-5D34-4FC9-855A-9B4675049C6F}">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otalTime>0</TotalTime>
  <Words>2184</Words>
  <Application>Microsoft Office PowerPoint</Application>
  <PresentationFormat>Widescreen</PresentationFormat>
  <Paragraphs>194</Paragraphs>
  <Slides>8</Slides>
  <Notes>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9" baseType="lpstr">
      <vt:lpstr>Aptos</vt:lpstr>
      <vt:lpstr>Aptos Display</vt:lpstr>
      <vt:lpstr>Arial</vt:lpstr>
      <vt:lpstr>Calibri</vt:lpstr>
      <vt:lpstr>Calibri Light</vt:lpstr>
      <vt:lpstr>Verdana</vt:lpstr>
      <vt:lpstr>Wingdings</vt:lpstr>
      <vt:lpstr>Wingdings 2</vt:lpstr>
      <vt:lpstr>1_Office Theme</vt:lpstr>
      <vt:lpstr>Deloitte Bran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arg, Sumeet</dc:creator>
  <cp:lastModifiedBy>Garg, Sumeet</cp:lastModifiedBy>
  <cp:revision>1</cp:revision>
  <dcterms:created xsi:type="dcterms:W3CDTF">2026-05-10T08:13:27Z</dcterms:created>
  <dcterms:modified xsi:type="dcterms:W3CDTF">2026-05-10T08:19:46Z</dcterms:modified>
</cp:coreProperties>
</file>